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7" r:id="rId2"/>
    <p:sldMasterId id="2147483710" r:id="rId3"/>
    <p:sldMasterId id="2147483727" r:id="rId4"/>
  </p:sldMasterIdLst>
  <p:notesMasterIdLst>
    <p:notesMasterId r:id="rId19"/>
  </p:notesMasterIdLst>
  <p:handoutMasterIdLst>
    <p:handoutMasterId r:id="rId20"/>
  </p:handoutMasterIdLst>
  <p:sldIdLst>
    <p:sldId id="379" r:id="rId5"/>
    <p:sldId id="380" r:id="rId6"/>
    <p:sldId id="383" r:id="rId7"/>
    <p:sldId id="390" r:id="rId8"/>
    <p:sldId id="382" r:id="rId9"/>
    <p:sldId id="326" r:id="rId10"/>
    <p:sldId id="391" r:id="rId11"/>
    <p:sldId id="328" r:id="rId12"/>
    <p:sldId id="387" r:id="rId13"/>
    <p:sldId id="327" r:id="rId14"/>
    <p:sldId id="358" r:id="rId15"/>
    <p:sldId id="388" r:id="rId16"/>
    <p:sldId id="385" r:id="rId17"/>
    <p:sldId id="270" r:id="rId18"/>
  </p:sldIdLst>
  <p:sldSz cx="9144000" cy="6858000" type="screen4x3"/>
  <p:notesSz cx="6858000" cy="9144000"/>
  <p:defaultTextStyle>
    <a:defPPr>
      <a:defRPr lang="en-US"/>
    </a:defPPr>
    <a:lvl1pPr marL="0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1pPr>
    <a:lvl2pPr marL="521797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2pPr>
    <a:lvl3pPr marL="1043594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3pPr>
    <a:lvl4pPr marL="1565393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4pPr>
    <a:lvl5pPr marL="2087190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5pPr>
    <a:lvl6pPr marL="2608987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6pPr>
    <a:lvl7pPr marL="3130785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7pPr>
    <a:lvl8pPr marL="3652582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8pPr>
    <a:lvl9pPr marL="4174379" algn="l" defTabSz="521797" rtl="0" eaLnBrk="1" latinLnBrk="0" hangingPunct="1">
      <a:defRPr sz="205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 Kuehnel" initials="MK" lastIdx="1" clrIdx="0">
    <p:extLst>
      <p:ext uri="{19B8F6BF-5375-455C-9EA6-DF929625EA0E}">
        <p15:presenceInfo xmlns:p15="http://schemas.microsoft.com/office/powerpoint/2012/main" userId="S::matt.kuehnel@signify.com::8a957a44-c203-43ae-b3ce-6c786d9dbb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ECBD0"/>
    <a:srgbClr val="00E4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566" y="102"/>
      </p:cViewPr>
      <p:guideLst>
        <p:guide orient="horz" pos="2161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8441A5F-628D-44D1-A609-075C3964E14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346285-E5C5-477E-927A-DED670A8105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9D4484-00AE-4A89-A56A-1F3F4E6AD2E7}" type="datetimeFigureOut">
              <a:rPr lang="en-US" smtClean="0"/>
              <a:t>9/24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1ED41A-B88D-4A51-802B-2BF0EF593B1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4A25E8-9FAE-471C-835A-E37A1F93E33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6B5260-6B02-43F1-8733-AE49755B67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1057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7D4DE8-A922-4B1E-BC2A-E5A2A021B048}" type="datetimeFigureOut">
              <a:rPr lang="en-US" smtClean="0"/>
              <a:t>9/2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76CC90-A44C-4E13-BEC7-0F8CA1F95A1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7982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1pPr>
    <a:lvl2pPr marL="521797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2pPr>
    <a:lvl3pPr marL="1043594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3pPr>
    <a:lvl4pPr marL="1565393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4pPr>
    <a:lvl5pPr marL="2087190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5pPr>
    <a:lvl6pPr marL="2608987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6pPr>
    <a:lvl7pPr marL="3130785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7pPr>
    <a:lvl8pPr marL="3652582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8pPr>
    <a:lvl9pPr marL="4174379" algn="l" defTabSz="1043594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CF7BDC-BBE4-42E7-BE17-7E5E0CE78F9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39266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CF7BDC-BBE4-42E7-BE17-7E5E0CE78F9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8475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030B3E-950D-47A0-B632-AA5C51D7541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2977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030B3E-950D-47A0-B632-AA5C51D7541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297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030B3E-950D-47A0-B632-AA5C51D7541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297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.emf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3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3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3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3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806139"/>
            <a:ext cx="6858001" cy="3245724"/>
          </a:xfrm>
        </p:spPr>
        <p:txBody>
          <a:bodyPr anchor="ctr"/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714325"/>
            <a:ext cx="6858001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70F54715-A93F-4896-93D9-0F87EC2FA633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632400" y="685118"/>
            <a:ext cx="1879200" cy="458559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46B7DFA-C5E8-4F62-AD8D-4DEE7917FD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6ABD64B8-C9CA-4D12-BB30-52ABBBA59E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B038732F-5EB5-436D-B40F-847E37FC09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B2C29C81-DF56-4D2E-89D6-7B7333393C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B38DB0D8-2A95-458B-BC03-75E42A03A8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285FBA9D-B6C7-4BE7-90DC-3572BFC9530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4" name="Oval 11">
              <a:extLst>
                <a:ext uri="{FF2B5EF4-FFF2-40B4-BE49-F238E27FC236}">
                  <a16:creationId xmlns:a16="http://schemas.microsoft.com/office/drawing/2014/main" id="{48DD9144-12C1-4B89-9F6D-92B4361D96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5" name="Oval 12">
              <a:extLst>
                <a:ext uri="{FF2B5EF4-FFF2-40B4-BE49-F238E27FC236}">
                  <a16:creationId xmlns:a16="http://schemas.microsoft.com/office/drawing/2014/main" id="{01B98C09-7AAE-43C7-82DE-9DB278B02F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DF4FD3F7-7AD2-4CA4-8D7C-34E6C136A5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E3F74A4C-3F35-49ED-8FDB-98270CD3D0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</p:grpSp>
    </p:spTree>
    <p:extLst>
      <p:ext uri="{BB962C8B-B14F-4D97-AF65-F5344CB8AC3E}">
        <p14:creationId xmlns:p14="http://schemas.microsoft.com/office/powerpoint/2010/main" val="21094686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8159" y="1521185"/>
            <a:ext cx="3969084" cy="4494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5093" y="1521185"/>
            <a:ext cx="3969084" cy="4494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BEC790B-BB37-46AF-9CC2-582F081B64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39559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679" y="4"/>
            <a:ext cx="4571321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59" y="411083"/>
            <a:ext cx="3969084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8159" y="1521185"/>
            <a:ext cx="3969084" cy="4494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36593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-1"/>
            <a:ext cx="4571321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8154" y="411083"/>
            <a:ext cx="395602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78154" y="1521185"/>
            <a:ext cx="3956020" cy="4494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00489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Key Info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679" y="3429906"/>
            <a:ext cx="4571321" cy="342809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8159" y="1521185"/>
            <a:ext cx="3969084" cy="4494733"/>
          </a:xfrm>
        </p:spPr>
        <p:txBody>
          <a:bodyPr/>
          <a:lstStyle>
            <a:lvl1pPr>
              <a:defRPr sz="1597"/>
            </a:lvl1pPr>
            <a:lvl2pPr>
              <a:defRPr sz="1597"/>
            </a:lvl2pPr>
            <a:lvl3pPr>
              <a:defRPr sz="1597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7219E9-6258-4F28-A57E-2D2A7A147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679" y="5"/>
            <a:ext cx="4571321" cy="3429905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spPr>
        <p:txBody>
          <a:bodyPr lIns="360000" tIns="360000" rIns="360000" bIns="360000" anchor="ctr"/>
          <a:lstStyle>
            <a:lvl1pPr algn="ctr">
              <a:defRPr sz="3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F85738-4ACC-4932-9AC9-54B0CFBC9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0" y="410669"/>
            <a:ext cx="3969083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378332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AF37378-9CE3-46C1-80C8-30215DE1AF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9" y="-905"/>
            <a:ext cx="4571321" cy="6858905"/>
          </a:xfrm>
          <a:solidFill>
            <a:schemeClr val="accent3"/>
          </a:solidFill>
        </p:spPr>
        <p:txBody>
          <a:bodyPr lIns="360000" tIns="360000" rIns="360000" bIns="360000" anchor="ctr"/>
          <a:lstStyle>
            <a:lvl1pPr algn="ctr">
              <a:defRPr sz="4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8154" y="411083"/>
            <a:ext cx="395602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78154" y="1521185"/>
            <a:ext cx="3956020" cy="4494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52495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1E61418-E972-40CA-AF1C-5059724D873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45000" y="0"/>
            <a:ext cx="6399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5266B1-3B43-413F-B581-A2BA7F232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ooter (Insert &gt; Header &amp; Footer to edit) -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087E5-4709-465C-88EF-C43AFDD76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F08074-975D-439A-8214-343997E50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9829" y="1521185"/>
            <a:ext cx="2122745" cy="44947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B74708-2400-4449-A566-F6158A62A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0" y="410669"/>
            <a:ext cx="2122745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466367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4572001" y="4"/>
            <a:ext cx="457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42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8159" y="1521185"/>
            <a:ext cx="3969084" cy="4494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5093" y="1521185"/>
            <a:ext cx="3969084" cy="44947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7185569-060C-4071-87A6-3F288164C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0" y="410669"/>
            <a:ext cx="3969083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AC999FBB-C1D6-4B26-85DA-C35A9AE89FC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384343" y="6332830"/>
            <a:ext cx="455872" cy="148182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1EF72B13-9B15-4498-BB43-905E33674B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B395E17D-434D-496F-ACED-68402E0837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A5E2052B-5DD0-4BE1-B45C-38CD489F43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29E97861-81A0-48C0-8AEF-CACA7732E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0D779E3A-0123-49DB-8413-A23AC0E07A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4F51EF93-B585-496B-B94C-E8BE398523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7" name="Oval 11">
              <a:extLst>
                <a:ext uri="{FF2B5EF4-FFF2-40B4-BE49-F238E27FC236}">
                  <a16:creationId xmlns:a16="http://schemas.microsoft.com/office/drawing/2014/main" id="{781972F2-AA1F-442F-B2D7-23EDE922FF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8" name="Oval 12">
              <a:extLst>
                <a:ext uri="{FF2B5EF4-FFF2-40B4-BE49-F238E27FC236}">
                  <a16:creationId xmlns:a16="http://schemas.microsoft.com/office/drawing/2014/main" id="{BC311869-F154-41A1-AE1A-2BB4BC44553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0BD3BAD-FEE2-4A45-B755-5807997256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03B1CC70-8E47-4D3D-9382-CF481F7A98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1107012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680" y="-1"/>
            <a:ext cx="457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42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8159" y="1521183"/>
            <a:ext cx="3969084" cy="44947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78154" y="1521184"/>
            <a:ext cx="3956020" cy="44947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D930A9A-C0DD-4B8F-B286-D07D532A2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8153" y="410669"/>
            <a:ext cx="395602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33723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Tiles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6F170A-22F9-4C51-A3F5-C624133A83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"/>
            <a:ext cx="3049412" cy="3428999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accent3"/>
                </a:solidFill>
                <a:latin typeface="+mj-lt"/>
              </a:defRPr>
            </a:lvl1pPr>
            <a:lvl2pPr algn="ctr">
              <a:defRPr sz="2200" b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78A6CC2-2B2B-49B7-988E-7B29E92604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294" y="2"/>
            <a:ext cx="3049412" cy="3428999"/>
          </a:xfr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latin typeface="+mj-lt"/>
              </a:defRPr>
            </a:lvl1pPr>
            <a:lvl2pPr algn="ctr">
              <a:defRPr sz="2200" b="0"/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6AC9356-AA84-4F4C-B1FF-5212DBD301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4588" y="2"/>
            <a:ext cx="3049412" cy="3428999"/>
          </a:xfr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bg1"/>
                </a:solidFill>
                <a:latin typeface="+mj-lt"/>
              </a:defRPr>
            </a:lvl1pPr>
            <a:lvl2pPr algn="ctr"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0EEEBEF-05E3-4523-B510-9AB7EDBF07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4588" y="3429080"/>
            <a:ext cx="3049412" cy="3428999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accent3"/>
                </a:solidFill>
                <a:latin typeface="+mj-lt"/>
              </a:defRPr>
            </a:lvl1pPr>
            <a:lvl2pPr algn="ctr">
              <a:defRPr sz="2200" b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8DD8EBF-71D9-4384-B696-89AB7269F1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7294" y="3429080"/>
            <a:ext cx="3049412" cy="3428999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accent5"/>
                </a:solidFill>
                <a:latin typeface="+mj-lt"/>
              </a:defRPr>
            </a:lvl1pPr>
            <a:lvl2pPr algn="ctr">
              <a:defRPr sz="2200" b="0">
                <a:solidFill>
                  <a:schemeClr val="accent5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BB48325-C2CB-490C-BEC5-9F1DE6155C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3429080"/>
            <a:ext cx="3049412" cy="3428999"/>
          </a:xfr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bg1"/>
                </a:solidFill>
                <a:latin typeface="+mj-lt"/>
              </a:defRPr>
            </a:lvl1pPr>
            <a:lvl2pPr algn="ctr"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9A526-7C09-4FE7-AB48-4E3DF8072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E0864-1815-47B8-8BBA-B0910E119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D78EFC-C516-4B8D-8CA7-6B33A2BD7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99053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>
          <a:gsLst>
            <a:gs pos="50000">
              <a:srgbClr val="00E487"/>
            </a:gs>
            <a:gs pos="100000">
              <a:srgbClr val="1ECBD0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FD4E276-C47D-4F97-8D9E-FECD172C979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312200" y="2635765"/>
            <a:ext cx="6519600" cy="1589645"/>
            <a:chOff x="2071" y="1578"/>
            <a:chExt cx="2587" cy="631"/>
          </a:xfrm>
          <a:solidFill>
            <a:schemeClr val="bg1"/>
          </a:solidFill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F8587B0E-0CEF-4218-99CF-AE3634274F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E526A929-E098-4073-8B92-F18ED8E1D9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EDF465AE-39A5-4B73-8576-41C66C06AD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FA4DA928-058C-40DF-A9B6-21272F81C6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BDBE2736-4D16-47F2-8CC1-7353D5B149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C990E525-4DF6-403E-9092-24C5DCE5B3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1114B85E-E1BE-464E-8E28-ACA4300CA4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BA160C3-B4E4-4003-BFF3-28A6B0C1B0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0F26E6D7-1351-4C95-A3E8-FF86354A3C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DA6E6734-7A5F-4A76-946D-520C7807BB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</p:grpSp>
    </p:spTree>
    <p:extLst>
      <p:ext uri="{BB962C8B-B14F-4D97-AF65-F5344CB8AC3E}">
        <p14:creationId xmlns:p14="http://schemas.microsoft.com/office/powerpoint/2010/main" val="390231671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806139"/>
            <a:ext cx="6858001" cy="3245724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714325"/>
            <a:ext cx="6858001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5" name="Group 4">
            <a:extLst>
              <a:ext uri="{FF2B5EF4-FFF2-40B4-BE49-F238E27FC236}">
                <a16:creationId xmlns:a16="http://schemas.microsoft.com/office/drawing/2014/main" id="{5D3806C6-3C4A-4528-8DDA-8AA8E28B3CC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632400" y="685118"/>
            <a:ext cx="1879200" cy="458559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D204330-E4F4-4AE5-B876-DD6FD0CC24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2DE86EDA-5579-4EEA-BBEC-E548B978F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DDCDDCB2-84F7-4FC5-A221-A89C2AA8B6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470295FD-CAE5-4F3C-A6CF-FA53DC3AED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300A8265-0193-4643-8277-06A8669173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3A3999E2-1CCC-48F2-9604-30EEA95A5C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3" name="Oval 11">
              <a:extLst>
                <a:ext uri="{FF2B5EF4-FFF2-40B4-BE49-F238E27FC236}">
                  <a16:creationId xmlns:a16="http://schemas.microsoft.com/office/drawing/2014/main" id="{30448070-ED95-4F52-B4EF-8D79F2F1AFC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4" name="Oval 12">
              <a:extLst>
                <a:ext uri="{FF2B5EF4-FFF2-40B4-BE49-F238E27FC236}">
                  <a16:creationId xmlns:a16="http://schemas.microsoft.com/office/drawing/2014/main" id="{45B027AF-85EF-4A64-ABA7-191ABD9D3E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8655BE1A-6EF8-45E0-A212-7290889F8A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CA5E4D36-A75A-49DB-8A48-7CD2DBC617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</p:grpSp>
    </p:spTree>
    <p:extLst>
      <p:ext uri="{BB962C8B-B14F-4D97-AF65-F5344CB8AC3E}">
        <p14:creationId xmlns:p14="http://schemas.microsoft.com/office/powerpoint/2010/main" val="10719778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74559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67321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533400"/>
            <a:ext cx="7488000" cy="578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7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to 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28673" y="1371600"/>
            <a:ext cx="7488000" cy="4712400"/>
          </a:xfrm>
          <a:prstGeom prst="rect">
            <a:avLst/>
          </a:prstGeom>
        </p:spPr>
        <p:txBody>
          <a:bodyPr lIns="0" tIns="0" rIns="0" bIns="0" spcCol="432000"/>
          <a:lstStyle>
            <a:lvl1pPr marL="162000" indent="-162000">
              <a:spcBef>
                <a:spcPts val="0"/>
              </a:spcBef>
              <a:defRPr sz="1800"/>
            </a:lvl1pPr>
            <a:lvl2pPr marL="324000" indent="-162000">
              <a:spcBef>
                <a:spcPts val="0"/>
              </a:spcBef>
              <a:defRPr sz="1650"/>
            </a:lvl2pPr>
            <a:lvl3pPr marL="486000" indent="-162000">
              <a:spcBef>
                <a:spcPts val="0"/>
              </a:spcBef>
              <a:buFont typeface="Wingdings" panose="05000000000000000000" pitchFamily="2" charset="2"/>
              <a:buChar char="§"/>
              <a:defRPr sz="1500"/>
            </a:lvl3pPr>
            <a:lvl4pPr marL="648000" indent="-162000">
              <a:spcBef>
                <a:spcPts val="0"/>
              </a:spcBef>
              <a:buFont typeface="Arial" panose="020B0604020202020204" pitchFamily="34" charset="0"/>
              <a:buChar char="•"/>
              <a:defRPr sz="1500"/>
            </a:lvl4pPr>
            <a:lvl5pPr marL="810000" indent="-171450">
              <a:spcBef>
                <a:spcPts val="0"/>
              </a:spcBef>
              <a:buFont typeface="Calibri" panose="020F0502020204030204" pitchFamily="34" charset="0"/>
              <a:buChar char="─"/>
              <a:defRPr sz="1500"/>
            </a:lvl5pPr>
            <a:lvl6pPr marL="972000" indent="-17145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6pPr>
            <a:lvl7pPr marL="1134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7pPr>
            <a:lvl8pPr marL="1296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8pPr>
            <a:lvl9pPr marL="1458000" indent="-162000">
              <a:spcBef>
                <a:spcPts val="0"/>
              </a:spcBef>
              <a:buFont typeface="Calibri" panose="020F0502020204030204" pitchFamily="34" charset="0"/>
              <a:buChar char="─"/>
              <a:defRPr sz="135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750269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806139"/>
            <a:ext cx="6858001" cy="3245724"/>
          </a:xfrm>
        </p:spPr>
        <p:txBody>
          <a:bodyPr anchor="ctr"/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1" y="5714325"/>
            <a:ext cx="6858001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D24CE919-A7C7-49EF-8CB7-9F5CE00A26F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758400" y="662400"/>
            <a:ext cx="1627200" cy="283542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rgbClr val="FF375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54"/>
          </a:p>
        </p:txBody>
      </p:sp>
    </p:spTree>
    <p:extLst>
      <p:ext uri="{BB962C8B-B14F-4D97-AF65-F5344CB8AC3E}">
        <p14:creationId xmlns:p14="http://schemas.microsoft.com/office/powerpoint/2010/main" val="404858682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806139"/>
            <a:ext cx="6858001" cy="3245724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1" y="5714325"/>
            <a:ext cx="6858001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840824E7-B461-4C14-8399-4879CDB24A1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758400" y="662400"/>
            <a:ext cx="1627200" cy="283542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54"/>
          </a:p>
        </p:txBody>
      </p:sp>
    </p:spTree>
    <p:extLst>
      <p:ext uri="{BB962C8B-B14F-4D97-AF65-F5344CB8AC3E}">
        <p14:creationId xmlns:p14="http://schemas.microsoft.com/office/powerpoint/2010/main" val="210954014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806139"/>
            <a:ext cx="6858001" cy="3245724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1" y="5714325"/>
            <a:ext cx="6858001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0A007A90-1AA8-4D03-814F-5136D13F038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758400" y="662400"/>
            <a:ext cx="1627200" cy="283542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rgbClr val="FF375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54"/>
          </a:p>
        </p:txBody>
      </p:sp>
    </p:spTree>
    <p:extLst>
      <p:ext uri="{BB962C8B-B14F-4D97-AF65-F5344CB8AC3E}">
        <p14:creationId xmlns:p14="http://schemas.microsoft.com/office/powerpoint/2010/main" val="272175329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8161" y="1521184"/>
            <a:ext cx="4634141" cy="3817442"/>
          </a:xfrm>
        </p:spPr>
        <p:txBody>
          <a:bodyPr anchor="ctr"/>
          <a:lstStyle>
            <a:lvl1pPr marL="0" indent="0">
              <a:buNone/>
              <a:defRPr sz="3000" b="0">
                <a:solidFill>
                  <a:schemeClr val="tx2"/>
                </a:solidFill>
                <a:latin typeface="+mj-lt"/>
              </a:defRPr>
            </a:lvl1pPr>
            <a:lvl2pPr marL="521258" indent="0">
              <a:buNone/>
              <a:defRPr sz="2280">
                <a:solidFill>
                  <a:schemeClr val="tx1">
                    <a:tint val="75000"/>
                  </a:schemeClr>
                </a:solidFill>
              </a:defRPr>
            </a:lvl2pPr>
            <a:lvl3pPr marL="1042512" indent="0">
              <a:buNone/>
              <a:defRPr sz="2052">
                <a:solidFill>
                  <a:schemeClr val="tx1">
                    <a:tint val="75000"/>
                  </a:schemeClr>
                </a:solidFill>
              </a:defRPr>
            </a:lvl3pPr>
            <a:lvl4pPr marL="156377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4pPr>
            <a:lvl5pPr marL="2085031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5pPr>
            <a:lvl6pPr marL="2606285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6pPr>
            <a:lvl7pPr marL="312754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7pPr>
            <a:lvl8pPr marL="364880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8pPr>
            <a:lvl9pPr marL="4170060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3925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13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9D7C87-D037-4797-9A6A-B999C6F0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0" y="1521188"/>
            <a:ext cx="8526014" cy="3815631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87940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ght Gre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9D7C87-D037-4797-9A6A-B999C6F0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0" y="1521188"/>
            <a:ext cx="8526014" cy="3815631"/>
          </a:xfrm>
        </p:spPr>
        <p:txBody>
          <a:bodyPr anchor="ctr"/>
          <a:lstStyle>
            <a:lvl1pPr algn="ctr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462853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828" y="1521184"/>
            <a:ext cx="6422759" cy="3817442"/>
          </a:xfrm>
        </p:spPr>
        <p:txBody>
          <a:bodyPr anchor="ctr"/>
          <a:lstStyle>
            <a:lvl1pPr marL="0" indent="0">
              <a:buNone/>
              <a:defRPr sz="4000" b="0">
                <a:solidFill>
                  <a:schemeClr val="bg1"/>
                </a:solidFill>
                <a:latin typeface="+mj-lt"/>
              </a:defRPr>
            </a:lvl1pPr>
            <a:lvl2pPr marL="521258" indent="0">
              <a:buNone/>
              <a:defRPr sz="2280">
                <a:solidFill>
                  <a:schemeClr val="tx1">
                    <a:tint val="75000"/>
                  </a:schemeClr>
                </a:solidFill>
              </a:defRPr>
            </a:lvl2pPr>
            <a:lvl3pPr marL="1042512" indent="0">
              <a:buNone/>
              <a:defRPr sz="2052">
                <a:solidFill>
                  <a:schemeClr val="tx1">
                    <a:tint val="75000"/>
                  </a:schemeClr>
                </a:solidFill>
              </a:defRPr>
            </a:lvl3pPr>
            <a:lvl4pPr marL="156377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4pPr>
            <a:lvl5pPr marL="2085031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5pPr>
            <a:lvl6pPr marL="2606285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6pPr>
            <a:lvl7pPr marL="312754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7pPr>
            <a:lvl8pPr marL="364880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8pPr>
            <a:lvl9pPr marL="4170060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5082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24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806139"/>
            <a:ext cx="6858001" cy="3245724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714325"/>
            <a:ext cx="6858001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5" name="Group 4">
            <a:extLst>
              <a:ext uri="{FF2B5EF4-FFF2-40B4-BE49-F238E27FC236}">
                <a16:creationId xmlns:a16="http://schemas.microsoft.com/office/drawing/2014/main" id="{F7BE4773-B568-4FC3-93FE-66F9DB095EE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632400" y="685118"/>
            <a:ext cx="1879200" cy="458559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C4262882-0E0D-4DA1-9E28-B2E6B51B46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5C6FF5E-2CE8-4720-98C8-A00D0D01DA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DBA5863B-407D-4E5C-BD7B-BE8ACADCF1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53DDAABE-AC81-4533-8EFE-5DF95FF3F8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90CFA1F-9DEA-458A-8F17-CEEE0C243A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5A267FFB-ACDC-426D-8338-40A2F8BDB0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3" name="Oval 11">
              <a:extLst>
                <a:ext uri="{FF2B5EF4-FFF2-40B4-BE49-F238E27FC236}">
                  <a16:creationId xmlns:a16="http://schemas.microsoft.com/office/drawing/2014/main" id="{7087ABE3-4B89-4D8F-B59C-0D6EFCAF74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4" name="Oval 12">
              <a:extLst>
                <a:ext uri="{FF2B5EF4-FFF2-40B4-BE49-F238E27FC236}">
                  <a16:creationId xmlns:a16="http://schemas.microsoft.com/office/drawing/2014/main" id="{98FBEF7B-C8A6-4728-83F1-E79FC7BFA0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572EDAA-62D4-40F3-98A2-F86FCF55CE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9B7CA903-2B5E-4AF3-B7D2-F7BD5C68C1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dirty="0"/>
            </a:p>
          </p:txBody>
        </p:sp>
      </p:grpSp>
    </p:spTree>
    <p:extLst>
      <p:ext uri="{BB962C8B-B14F-4D97-AF65-F5344CB8AC3E}">
        <p14:creationId xmlns:p14="http://schemas.microsoft.com/office/powerpoint/2010/main" val="248136903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D5FF552-6074-447D-AD5E-8C1C43CCBFB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9690" y="1521185"/>
            <a:ext cx="8524483" cy="449473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77F6106-20AC-4F4E-811D-6D4EBFC2BE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08927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61" y="411083"/>
            <a:ext cx="8526014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8E40116B-71CA-472D-8400-6F4605D9D0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9690" y="1521185"/>
            <a:ext cx="8524747" cy="449473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 sz="2200"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69453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8159" y="1521185"/>
            <a:ext cx="3969084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5093" y="1521185"/>
            <a:ext cx="3969084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BEC790B-BB37-46AF-9CC2-582F081B64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62812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680" y="4"/>
            <a:ext cx="4571321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59" y="411083"/>
            <a:ext cx="3969084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8159" y="1521185"/>
            <a:ext cx="3969084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656028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" y="-1"/>
            <a:ext cx="4571321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8155" y="411083"/>
            <a:ext cx="395602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78155" y="1521185"/>
            <a:ext cx="3956020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24408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Key Info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680" y="3429908"/>
            <a:ext cx="4571321" cy="342809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8159" y="1521185"/>
            <a:ext cx="3969084" cy="4494733"/>
          </a:xfrm>
        </p:spPr>
        <p:txBody>
          <a:bodyPr/>
          <a:lstStyle>
            <a:lvl1pPr>
              <a:defRPr sz="1597"/>
            </a:lvl1pPr>
            <a:lvl2pPr>
              <a:defRPr sz="1597"/>
            </a:lvl2pPr>
            <a:lvl3pPr>
              <a:defRPr sz="1597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7219E9-6258-4F28-A57E-2D2A7A147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680" y="7"/>
            <a:ext cx="4571321" cy="3429905"/>
          </a:xfrm>
          <a:solidFill>
            <a:schemeClr val="accent3"/>
          </a:solidFill>
        </p:spPr>
        <p:txBody>
          <a:bodyPr lIns="360000" tIns="360000" rIns="360000" bIns="360000" anchor="ctr"/>
          <a:lstStyle>
            <a:lvl1pPr algn="ctr">
              <a:defRPr sz="34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F85738-4ACC-4932-9AC9-54B0CFBC9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1" y="410669"/>
            <a:ext cx="3969083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816283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AF37378-9CE3-46C1-80C8-30215DE1AF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0" y="-905"/>
            <a:ext cx="4571321" cy="6858905"/>
          </a:xfrm>
          <a:solidFill>
            <a:schemeClr val="accent3"/>
          </a:solidFill>
        </p:spPr>
        <p:txBody>
          <a:bodyPr lIns="360000" tIns="360000" rIns="360000" bIns="360000" anchor="ctr"/>
          <a:lstStyle>
            <a:lvl1pPr algn="ctr">
              <a:defRPr sz="4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8155" y="411083"/>
            <a:ext cx="395602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78155" y="1521185"/>
            <a:ext cx="3956020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19373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1E61418-E972-40CA-AF1C-5059724D873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745000" y="0"/>
            <a:ext cx="6399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5266B1-3B43-413F-B581-A2BA7F232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ooter (Insert &gt; Header &amp; Footer to edit) -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087E5-4709-465C-88EF-C43AFDD76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F08074-975D-439A-8214-343997E50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9830" y="1521185"/>
            <a:ext cx="2122745" cy="44947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B74708-2400-4449-A566-F6158A62A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1" y="410669"/>
            <a:ext cx="2122745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572164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4572001" y="4"/>
            <a:ext cx="457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42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8159" y="1521185"/>
            <a:ext cx="3969084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5093" y="1521185"/>
            <a:ext cx="3969084" cy="44947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7185569-060C-4071-87A6-3F288164C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1" y="410669"/>
            <a:ext cx="3969083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4CBF1DDE-7DD3-4D1C-9B77-141EBB861B0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372709" y="6336092"/>
            <a:ext cx="459000" cy="106642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rgbClr val="FF375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54"/>
          </a:p>
        </p:txBody>
      </p:sp>
    </p:spTree>
    <p:extLst>
      <p:ext uri="{BB962C8B-B14F-4D97-AF65-F5344CB8AC3E}">
        <p14:creationId xmlns:p14="http://schemas.microsoft.com/office/powerpoint/2010/main" val="21670192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680" y="-1"/>
            <a:ext cx="4572000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42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8159" y="1521183"/>
            <a:ext cx="3969084" cy="44947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78155" y="1521184"/>
            <a:ext cx="3956020" cy="44947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D930A9A-C0DD-4B8F-B286-D07D532A2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8153" y="410669"/>
            <a:ext cx="395602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16680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8160" y="1521184"/>
            <a:ext cx="4634141" cy="3817442"/>
          </a:xfrm>
        </p:spPr>
        <p:txBody>
          <a:bodyPr anchor="ctr"/>
          <a:lstStyle>
            <a:lvl1pPr marL="0" indent="0">
              <a:buNone/>
              <a:defRPr sz="3000" b="0">
                <a:solidFill>
                  <a:schemeClr val="tx2"/>
                </a:solidFill>
                <a:latin typeface="+mj-lt"/>
              </a:defRPr>
            </a:lvl1pPr>
            <a:lvl2pPr marL="521258" indent="0">
              <a:buNone/>
              <a:defRPr sz="2280">
                <a:solidFill>
                  <a:schemeClr val="tx1">
                    <a:tint val="75000"/>
                  </a:schemeClr>
                </a:solidFill>
              </a:defRPr>
            </a:lvl2pPr>
            <a:lvl3pPr marL="1042512" indent="0">
              <a:buNone/>
              <a:defRPr sz="2052">
                <a:solidFill>
                  <a:schemeClr val="tx1">
                    <a:tint val="75000"/>
                  </a:schemeClr>
                </a:solidFill>
              </a:defRPr>
            </a:lvl3pPr>
            <a:lvl4pPr marL="156377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4pPr>
            <a:lvl5pPr marL="2085031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5pPr>
            <a:lvl6pPr marL="2606285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6pPr>
            <a:lvl7pPr marL="312754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7pPr>
            <a:lvl8pPr marL="364880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8pPr>
            <a:lvl9pPr marL="4170060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7361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13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Tiles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66F170A-22F9-4C51-A3F5-C624133A83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2"/>
            <a:ext cx="3049412" cy="3428999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accent3"/>
                </a:solidFill>
                <a:latin typeface="+mj-lt"/>
              </a:defRPr>
            </a:lvl1pPr>
            <a:lvl2pPr algn="ctr">
              <a:defRPr sz="2200" b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78A6CC2-2B2B-49B7-988E-7B29E92604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7295" y="2"/>
            <a:ext cx="3049412" cy="3428999"/>
          </a:xfr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latin typeface="+mj-lt"/>
              </a:defRPr>
            </a:lvl1pPr>
            <a:lvl2pPr algn="ctr">
              <a:defRPr sz="2200" b="0"/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6AC9356-AA84-4F4C-B1FF-5212DBD3016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4588" y="2"/>
            <a:ext cx="3049412" cy="3428999"/>
          </a:xfr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bg1"/>
                </a:solidFill>
                <a:latin typeface="+mj-lt"/>
              </a:defRPr>
            </a:lvl1pPr>
            <a:lvl2pPr algn="ctr"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0EEEBEF-05E3-4523-B510-9AB7EDBF07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4588" y="3429082"/>
            <a:ext cx="3049412" cy="3428999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accent3"/>
                </a:solidFill>
                <a:latin typeface="+mj-lt"/>
              </a:defRPr>
            </a:lvl1pPr>
            <a:lvl2pPr algn="ctr">
              <a:defRPr sz="2200" b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8DD8EBF-71D9-4384-B696-89AB7269F1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7295" y="3429082"/>
            <a:ext cx="3049412" cy="3428999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accent5"/>
                </a:solidFill>
                <a:latin typeface="+mj-lt"/>
              </a:defRPr>
            </a:lvl1pPr>
            <a:lvl2pPr algn="ctr">
              <a:defRPr sz="2200" b="0">
                <a:solidFill>
                  <a:schemeClr val="accent5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BB48325-C2CB-490C-BEC5-9F1DE6155C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" y="3429082"/>
            <a:ext cx="3049412" cy="3428999"/>
          </a:xfr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9200" b="0">
                <a:solidFill>
                  <a:schemeClr val="bg1"/>
                </a:solidFill>
                <a:latin typeface="+mj-lt"/>
              </a:defRPr>
            </a:lvl1pPr>
            <a:lvl2pPr algn="ctr">
              <a:defRPr sz="22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0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9A526-7C09-4FE7-AB48-4E3DF8072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E0864-1815-47B8-8BBA-B0910E119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D78EFC-C516-4B8D-8CA7-6B33A2BD77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95980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5">
            <a:extLst>
              <a:ext uri="{FF2B5EF4-FFF2-40B4-BE49-F238E27FC236}">
                <a16:creationId xmlns:a16="http://schemas.microsoft.com/office/drawing/2014/main" id="{BA983841-2E67-4BBE-85F6-5824A21EE17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317600" y="2861919"/>
            <a:ext cx="6508800" cy="1134169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54"/>
          </a:p>
        </p:txBody>
      </p:sp>
    </p:spTree>
    <p:extLst>
      <p:ext uri="{BB962C8B-B14F-4D97-AF65-F5344CB8AC3E}">
        <p14:creationId xmlns:p14="http://schemas.microsoft.com/office/powerpoint/2010/main" val="3081911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5">
            <a:extLst>
              <a:ext uri="{FF2B5EF4-FFF2-40B4-BE49-F238E27FC236}">
                <a16:creationId xmlns:a16="http://schemas.microsoft.com/office/drawing/2014/main" id="{BA983841-2E67-4BBE-85F6-5824A21EE17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317600" y="2861915"/>
            <a:ext cx="6508800" cy="1134169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54"/>
          </a:p>
        </p:txBody>
      </p:sp>
    </p:spTree>
    <p:extLst>
      <p:ext uri="{BB962C8B-B14F-4D97-AF65-F5344CB8AC3E}">
        <p14:creationId xmlns:p14="http://schemas.microsoft.com/office/powerpoint/2010/main" val="299143525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71445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04122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9564" y="1806139"/>
            <a:ext cx="8524878" cy="3245724"/>
          </a:xfrm>
        </p:spPr>
        <p:txBody>
          <a:bodyPr anchor="ctr"/>
          <a:lstStyle>
            <a:lvl1pPr algn="ctr"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9564" y="5714325"/>
            <a:ext cx="8524878" cy="453754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521258" indent="0" algn="ctr">
              <a:buNone/>
              <a:defRPr sz="2280"/>
            </a:lvl2pPr>
            <a:lvl3pPr marL="1042512" indent="0" algn="ctr">
              <a:buNone/>
              <a:defRPr sz="2052"/>
            </a:lvl3pPr>
            <a:lvl4pPr marL="1563773" indent="0" algn="ctr">
              <a:buNone/>
              <a:defRPr sz="1824"/>
            </a:lvl4pPr>
            <a:lvl5pPr marL="2085031" indent="0" algn="ctr">
              <a:buNone/>
              <a:defRPr sz="1824"/>
            </a:lvl5pPr>
            <a:lvl6pPr marL="2606285" indent="0" algn="ctr">
              <a:buNone/>
              <a:defRPr sz="1824"/>
            </a:lvl6pPr>
            <a:lvl7pPr marL="3127543" indent="0" algn="ctr">
              <a:buNone/>
              <a:defRPr sz="1824"/>
            </a:lvl7pPr>
            <a:lvl8pPr marL="3648803" indent="0" algn="ctr">
              <a:buNone/>
              <a:defRPr sz="1824"/>
            </a:lvl8pPr>
            <a:lvl9pPr marL="4170060" indent="0" algn="ctr">
              <a:buNone/>
              <a:defRPr sz="182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50" name="Group 4">
            <a:extLst>
              <a:ext uri="{FF2B5EF4-FFF2-40B4-BE49-F238E27FC236}">
                <a16:creationId xmlns:a16="http://schemas.microsoft.com/office/drawing/2014/main" id="{DBDC09B2-1560-4D3D-BAB6-BEF01BBD45D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58788" y="411163"/>
            <a:ext cx="2826424" cy="396000"/>
            <a:chOff x="0" y="1622"/>
            <a:chExt cx="7680" cy="1076"/>
          </a:xfrm>
          <a:solidFill>
            <a:schemeClr val="tx1"/>
          </a:solidFill>
        </p:grpSpPr>
        <p:sp>
          <p:nvSpPr>
            <p:cNvPr id="51" name="Freeform 5">
              <a:extLst>
                <a:ext uri="{FF2B5EF4-FFF2-40B4-BE49-F238E27FC236}">
                  <a16:creationId xmlns:a16="http://schemas.microsoft.com/office/drawing/2014/main" id="{43D1A7DB-C24F-43CA-80E5-591BCF37A6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14059B56-02F5-4EB6-B156-7836D1AE4C2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53" name="Freeform 7">
              <a:extLst>
                <a:ext uri="{FF2B5EF4-FFF2-40B4-BE49-F238E27FC236}">
                  <a16:creationId xmlns:a16="http://schemas.microsoft.com/office/drawing/2014/main" id="{D32C3F92-2BA5-4AC6-8F49-BBCE466431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54" name="Freeform 8">
              <a:extLst>
                <a:ext uri="{FF2B5EF4-FFF2-40B4-BE49-F238E27FC236}">
                  <a16:creationId xmlns:a16="http://schemas.microsoft.com/office/drawing/2014/main" id="{FC1F440A-0C7D-4BE6-8C35-5D715F9034C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55" name="Freeform 9">
              <a:extLst>
                <a:ext uri="{FF2B5EF4-FFF2-40B4-BE49-F238E27FC236}">
                  <a16:creationId xmlns:a16="http://schemas.microsoft.com/office/drawing/2014/main" id="{F6FE3509-4031-409C-A0E4-6E85AAB108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56" name="Rectangle 10">
              <a:extLst>
                <a:ext uri="{FF2B5EF4-FFF2-40B4-BE49-F238E27FC236}">
                  <a16:creationId xmlns:a16="http://schemas.microsoft.com/office/drawing/2014/main" id="{62946913-7B75-4504-A3F8-CDD2FD247E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57" name="Freeform 11">
              <a:extLst>
                <a:ext uri="{FF2B5EF4-FFF2-40B4-BE49-F238E27FC236}">
                  <a16:creationId xmlns:a16="http://schemas.microsoft.com/office/drawing/2014/main" id="{343CD8F9-EB8E-4FD6-85C2-7EFCC4550C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58" name="Freeform 12">
              <a:extLst>
                <a:ext uri="{FF2B5EF4-FFF2-40B4-BE49-F238E27FC236}">
                  <a16:creationId xmlns:a16="http://schemas.microsoft.com/office/drawing/2014/main" id="{48718EF2-DA5C-4F79-A8D4-11E9EE5B35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445CCA99-0A67-4B31-8AC0-A35A80ACCB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60" name="Rectangle 14">
              <a:extLst>
                <a:ext uri="{FF2B5EF4-FFF2-40B4-BE49-F238E27FC236}">
                  <a16:creationId xmlns:a16="http://schemas.microsoft.com/office/drawing/2014/main" id="{D97B57D4-231B-4233-A3E0-CC88DC4F11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34A5BF0B-F817-4001-980E-EB6590A82B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70E82A4E-10EB-48CF-A574-75E14CE2CE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2C95A2C6-530F-4832-971B-5C8A38D5E8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BCDC7AB3-C1A3-427F-8BD5-4C3ECDC6F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FDEDAF63-8C28-4B8E-B12C-2495A8D030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54" dirty="0"/>
            </a:p>
          </p:txBody>
        </p:sp>
      </p:grpSp>
    </p:spTree>
    <p:extLst>
      <p:ext uri="{BB962C8B-B14F-4D97-AF65-F5344CB8AC3E}">
        <p14:creationId xmlns:p14="http://schemas.microsoft.com/office/powerpoint/2010/main" val="41214806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8160" y="1521184"/>
            <a:ext cx="5611908" cy="3817442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4400" b="0">
                <a:solidFill>
                  <a:schemeClr val="tx1"/>
                </a:solidFill>
                <a:latin typeface="+mj-lt"/>
              </a:defRPr>
            </a:lvl1pPr>
            <a:lvl2pPr marL="521258" indent="0">
              <a:buNone/>
              <a:defRPr sz="2280">
                <a:solidFill>
                  <a:schemeClr val="tx1">
                    <a:tint val="75000"/>
                  </a:schemeClr>
                </a:solidFill>
              </a:defRPr>
            </a:lvl2pPr>
            <a:lvl3pPr marL="1042512" indent="0">
              <a:buNone/>
              <a:defRPr sz="2052">
                <a:solidFill>
                  <a:schemeClr val="tx1">
                    <a:tint val="75000"/>
                  </a:schemeClr>
                </a:solidFill>
              </a:defRPr>
            </a:lvl3pPr>
            <a:lvl4pPr marL="156377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4pPr>
            <a:lvl5pPr marL="2085031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5pPr>
            <a:lvl6pPr marL="2606285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6pPr>
            <a:lvl7pPr marL="312754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7pPr>
            <a:lvl8pPr marL="364880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8pPr>
            <a:lvl9pPr marL="4170060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2102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113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9D7C87-D037-4797-9A6A-B999C6F0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1" y="1521188"/>
            <a:ext cx="8526014" cy="3815631"/>
          </a:xfrm>
        </p:spPr>
        <p:txBody>
          <a:bodyPr anchor="ctr"/>
          <a:lstStyle>
            <a:lvl1pPr algn="ctr">
              <a:defRPr sz="6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4" name="Group 4">
            <a:extLst>
              <a:ext uri="{FF2B5EF4-FFF2-40B4-BE49-F238E27FC236}">
                <a16:creationId xmlns:a16="http://schemas.microsoft.com/office/drawing/2014/main" id="{4CB6CD73-4E85-4235-ABD4-D975BF5925C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487775" y="6330327"/>
            <a:ext cx="1346400" cy="188639"/>
            <a:chOff x="0" y="1622"/>
            <a:chExt cx="7680" cy="1076"/>
          </a:xfrm>
          <a:solidFill>
            <a:schemeClr val="bg1"/>
          </a:solidFill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FA0AAFD5-E52F-4F22-A5D4-D92C58B5A4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8D8A7604-6D73-4201-8110-814BD808D7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7D444C1B-0A8D-4D09-8125-CB54159BA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8D2F2514-CF17-49D0-BB2D-36E377C7C3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71EFADFF-F5AD-4C10-B921-5891A8E65C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Rectangle 10">
              <a:extLst>
                <a:ext uri="{FF2B5EF4-FFF2-40B4-BE49-F238E27FC236}">
                  <a16:creationId xmlns:a16="http://schemas.microsoft.com/office/drawing/2014/main" id="{59363C85-16C5-49A7-8E13-09ED38805EB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7EA70DE7-8A42-4410-BE6A-9F9E86F394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63771C70-AD9A-4826-8DA7-5F7937BD05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3267BECE-5375-4D9C-BD49-8E4467BFB2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Rectangle 14">
              <a:extLst>
                <a:ext uri="{FF2B5EF4-FFF2-40B4-BE49-F238E27FC236}">
                  <a16:creationId xmlns:a16="http://schemas.microsoft.com/office/drawing/2014/main" id="{67E1B816-02C1-47F1-9992-766D988CDF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id="{217B0F2B-C3FE-467E-97D7-1E7C626589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id="{15DFB2B9-E91A-42B5-9931-6AD12CA760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id="{1F1C3736-074B-4FD3-8955-D6B2B26892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18">
              <a:extLst>
                <a:ext uri="{FF2B5EF4-FFF2-40B4-BE49-F238E27FC236}">
                  <a16:creationId xmlns:a16="http://schemas.microsoft.com/office/drawing/2014/main" id="{DA35821D-57FB-4D59-B23D-48E0697C20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19">
              <a:extLst>
                <a:ext uri="{FF2B5EF4-FFF2-40B4-BE49-F238E27FC236}">
                  <a16:creationId xmlns:a16="http://schemas.microsoft.com/office/drawing/2014/main" id="{4A69E3A4-83E6-42ED-A7E6-A559393AAA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31252725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828" y="1521184"/>
            <a:ext cx="6422759" cy="3817442"/>
          </a:xfr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4400" b="0">
                <a:solidFill>
                  <a:schemeClr val="bg1"/>
                </a:solidFill>
                <a:latin typeface="+mj-lt"/>
              </a:defRPr>
            </a:lvl1pPr>
            <a:lvl2pPr marL="521258" indent="0">
              <a:buNone/>
              <a:defRPr sz="2280">
                <a:solidFill>
                  <a:schemeClr val="tx1">
                    <a:tint val="75000"/>
                  </a:schemeClr>
                </a:solidFill>
              </a:defRPr>
            </a:lvl2pPr>
            <a:lvl3pPr marL="1042512" indent="0">
              <a:buNone/>
              <a:defRPr sz="2052">
                <a:solidFill>
                  <a:schemeClr val="tx1">
                    <a:tint val="75000"/>
                  </a:schemeClr>
                </a:solidFill>
              </a:defRPr>
            </a:lvl3pPr>
            <a:lvl4pPr marL="156377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4pPr>
            <a:lvl5pPr marL="2085031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5pPr>
            <a:lvl6pPr marL="2606285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6pPr>
            <a:lvl7pPr marL="312754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7pPr>
            <a:lvl8pPr marL="364880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8pPr>
            <a:lvl9pPr marL="4170060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C2109EFD-21E5-42B6-A09D-E3D8B1DB47A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487775" y="6330327"/>
            <a:ext cx="1346400" cy="188639"/>
            <a:chOff x="0" y="1622"/>
            <a:chExt cx="7680" cy="1076"/>
          </a:xfrm>
          <a:solidFill>
            <a:schemeClr val="bg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F3506A59-FC3B-4BF7-BF42-4A9BCD259E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9002AE01-A785-4E0E-A1F0-85FA6616F5A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82A10A73-CA20-4CFC-958E-F61AB86686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670E0413-2C71-48D6-B7CC-7AD0217F8FB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3AEF9871-04D7-48F6-AC83-F72ADE283A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1D1A9D5A-9D7B-4930-B0DB-11B00D3A5C9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1488E920-E07A-47F4-A64A-F9047968C2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9F1CABC6-418D-434B-AA6B-E09EAE31BB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13">
              <a:extLst>
                <a:ext uri="{FF2B5EF4-FFF2-40B4-BE49-F238E27FC236}">
                  <a16:creationId xmlns:a16="http://schemas.microsoft.com/office/drawing/2014/main" id="{14F9B2C3-FF16-4BA2-B7D8-1F3E7B1687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Rectangle 14">
              <a:extLst>
                <a:ext uri="{FF2B5EF4-FFF2-40B4-BE49-F238E27FC236}">
                  <a16:creationId xmlns:a16="http://schemas.microsoft.com/office/drawing/2014/main" id="{9A6E316B-8270-492B-84AF-366E4E9C11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15">
              <a:extLst>
                <a:ext uri="{FF2B5EF4-FFF2-40B4-BE49-F238E27FC236}">
                  <a16:creationId xmlns:a16="http://schemas.microsoft.com/office/drawing/2014/main" id="{DFD94F1F-DAAB-465D-A66D-34274DC62DB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16">
              <a:extLst>
                <a:ext uri="{FF2B5EF4-FFF2-40B4-BE49-F238E27FC236}">
                  <a16:creationId xmlns:a16="http://schemas.microsoft.com/office/drawing/2014/main" id="{C029A098-C460-4E47-ABEA-287754EF0A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17">
              <a:extLst>
                <a:ext uri="{FF2B5EF4-FFF2-40B4-BE49-F238E27FC236}">
                  <a16:creationId xmlns:a16="http://schemas.microsoft.com/office/drawing/2014/main" id="{1CCA7DB8-537E-4CA4-BE6C-8C3BEB0A65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18">
              <a:extLst>
                <a:ext uri="{FF2B5EF4-FFF2-40B4-BE49-F238E27FC236}">
                  <a16:creationId xmlns:a16="http://schemas.microsoft.com/office/drawing/2014/main" id="{C5691626-877A-4CC5-BE88-5E47AF9DF9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19">
              <a:extLst>
                <a:ext uri="{FF2B5EF4-FFF2-40B4-BE49-F238E27FC236}">
                  <a16:creationId xmlns:a16="http://schemas.microsoft.com/office/drawing/2014/main" id="{30EAE6B8-B165-4309-BB68-B86D4AE4C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3636887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241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D5FF552-6074-447D-AD5E-8C1C43CCBFB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9690" y="1521185"/>
            <a:ext cx="8524748" cy="449473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77F6106-20AC-4F4E-811D-6D4EBFC2BE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1224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3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9D7C87-D037-4797-9A6A-B999C6F0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59" y="1521186"/>
            <a:ext cx="8526014" cy="3815631"/>
          </a:xfrm>
        </p:spPr>
        <p:txBody>
          <a:bodyPr anchor="ctr"/>
          <a:lstStyle>
            <a:lvl1pPr algn="ctr"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11687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61" y="411083"/>
            <a:ext cx="8526014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8E40116B-71CA-472D-8400-6F4605D9D0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9690" y="1521185"/>
            <a:ext cx="8524748" cy="449473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22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B33F427D-C226-4773-AAD5-37765E338B0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487775" y="6330327"/>
            <a:ext cx="1346400" cy="188639"/>
            <a:chOff x="0" y="1622"/>
            <a:chExt cx="7680" cy="1076"/>
          </a:xfrm>
          <a:solidFill>
            <a:schemeClr val="bg1"/>
          </a:solidFill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BCA92177-818E-42F9-8748-99DEB3A9DF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91E41EA5-7339-4491-8029-3A7FDE3FB8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7">
              <a:extLst>
                <a:ext uri="{FF2B5EF4-FFF2-40B4-BE49-F238E27FC236}">
                  <a16:creationId xmlns:a16="http://schemas.microsoft.com/office/drawing/2014/main" id="{95921B81-FC56-4768-B2B2-596B15C168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4E4A5369-8320-4197-92EF-1AFE7ED579D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9">
              <a:extLst>
                <a:ext uri="{FF2B5EF4-FFF2-40B4-BE49-F238E27FC236}">
                  <a16:creationId xmlns:a16="http://schemas.microsoft.com/office/drawing/2014/main" id="{6399A879-2C26-4A42-8CC3-B9DF14D8A3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Rectangle 10">
              <a:extLst>
                <a:ext uri="{FF2B5EF4-FFF2-40B4-BE49-F238E27FC236}">
                  <a16:creationId xmlns:a16="http://schemas.microsoft.com/office/drawing/2014/main" id="{B527522C-B997-45E5-9C2B-3EBB2241CB2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5EE37A23-502F-45E2-B5F6-9587AF1018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6A024987-310A-4394-BD2C-AD8CC910F0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C1CB3DDC-239E-4700-BF4B-2A0A07407F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Rectangle 14">
              <a:extLst>
                <a:ext uri="{FF2B5EF4-FFF2-40B4-BE49-F238E27FC236}">
                  <a16:creationId xmlns:a16="http://schemas.microsoft.com/office/drawing/2014/main" id="{1A672857-D21B-46E7-851E-E3D4D2C2FA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15">
              <a:extLst>
                <a:ext uri="{FF2B5EF4-FFF2-40B4-BE49-F238E27FC236}">
                  <a16:creationId xmlns:a16="http://schemas.microsoft.com/office/drawing/2014/main" id="{227B836A-7C03-40ED-BF5B-B3F3391510A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16">
              <a:extLst>
                <a:ext uri="{FF2B5EF4-FFF2-40B4-BE49-F238E27FC236}">
                  <a16:creationId xmlns:a16="http://schemas.microsoft.com/office/drawing/2014/main" id="{C7B7AC8D-E5DC-430E-B56F-DA544B2DCE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17">
              <a:extLst>
                <a:ext uri="{FF2B5EF4-FFF2-40B4-BE49-F238E27FC236}">
                  <a16:creationId xmlns:a16="http://schemas.microsoft.com/office/drawing/2014/main" id="{225A4851-7216-4A88-948B-6E26139B55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18">
              <a:extLst>
                <a:ext uri="{FF2B5EF4-FFF2-40B4-BE49-F238E27FC236}">
                  <a16:creationId xmlns:a16="http://schemas.microsoft.com/office/drawing/2014/main" id="{EEE210EE-D076-4DC8-8B3E-09DCA6A7D4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19">
              <a:extLst>
                <a:ext uri="{FF2B5EF4-FFF2-40B4-BE49-F238E27FC236}">
                  <a16:creationId xmlns:a16="http://schemas.microsoft.com/office/drawing/2014/main" id="{720DADE6-F799-4E2B-BC3D-87755427BE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30334417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33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8159" y="1521185"/>
            <a:ext cx="3956400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7775" y="1521185"/>
            <a:ext cx="3956400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BEC790B-BB37-46AF-9CC2-582F081B6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1" y="410669"/>
            <a:ext cx="8526014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41214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681" y="4"/>
            <a:ext cx="4571321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59" y="411083"/>
            <a:ext cx="3969084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8159" y="1521185"/>
            <a:ext cx="3969084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99564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" y="-1"/>
            <a:ext cx="4571321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8156" y="411083"/>
            <a:ext cx="395602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78156" y="1521185"/>
            <a:ext cx="3956020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483037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Key Info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EE699-16B4-4E6C-852E-7A2C3D133E4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681" y="3429910"/>
            <a:ext cx="4571321" cy="342809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7219E9-6258-4F28-A57E-2D2A7A147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681" y="9"/>
            <a:ext cx="4571321" cy="3429905"/>
          </a:xfrm>
          <a:solidFill>
            <a:schemeClr val="tx1"/>
          </a:solidFill>
        </p:spPr>
        <p:txBody>
          <a:bodyPr lIns="360000" tIns="360000" rIns="360000" bIns="360000" anchor="ctr"/>
          <a:lstStyle>
            <a:lvl1pPr algn="ctr">
              <a:defRPr sz="3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F85738-4ACC-4932-9AC9-54B0CFBC9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2" y="410669"/>
            <a:ext cx="3969083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8A7491F-1E1B-44B3-B411-C2B74C75C2A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8159" y="1521185"/>
            <a:ext cx="3969084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8408239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Large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1E61418-E972-40CA-AF1C-5059724D873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961000" y="0"/>
            <a:ext cx="6183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5266B1-3B43-413F-B581-A2BA7F232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4087E5-4709-465C-88EF-C43AFDD76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F08074-975D-439A-8214-343997E50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9829" y="1521185"/>
            <a:ext cx="2505638" cy="44947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B74708-2400-4449-A566-F6158A62A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1" y="410669"/>
            <a:ext cx="2505638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00810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4572001" y="4"/>
            <a:ext cx="457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42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8159" y="1521185"/>
            <a:ext cx="3969084" cy="44947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5093" y="1521185"/>
            <a:ext cx="3969084" cy="44947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7185569-060C-4071-87A6-3F288164C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62" y="410669"/>
            <a:ext cx="3969083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4" name="Group 4">
            <a:extLst>
              <a:ext uri="{FF2B5EF4-FFF2-40B4-BE49-F238E27FC236}">
                <a16:creationId xmlns:a16="http://schemas.microsoft.com/office/drawing/2014/main" id="{3F1DC3CD-20CB-42E2-83AA-084849068B8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487775" y="6330327"/>
            <a:ext cx="1346400" cy="188639"/>
            <a:chOff x="0" y="1622"/>
            <a:chExt cx="7680" cy="1076"/>
          </a:xfrm>
          <a:solidFill>
            <a:schemeClr val="bg1"/>
          </a:solidFill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98B4E9A5-6126-4B20-8724-A0130DC4B1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FB74B81A-32B1-4F96-A671-8BBC6BA9B28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C3D9D79-BD3A-4587-A22A-AA4EC08874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3A53E92D-D22D-4717-810F-6816C0F917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748B7A1B-9478-4511-8A2F-7A21BD3162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Rectangle 10">
              <a:extLst>
                <a:ext uri="{FF2B5EF4-FFF2-40B4-BE49-F238E27FC236}">
                  <a16:creationId xmlns:a16="http://schemas.microsoft.com/office/drawing/2014/main" id="{24BE8056-E689-4729-BD2B-8A4303CA53C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6F6F67DE-F031-4EEA-8280-3126ABDCFF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12">
              <a:extLst>
                <a:ext uri="{FF2B5EF4-FFF2-40B4-BE49-F238E27FC236}">
                  <a16:creationId xmlns:a16="http://schemas.microsoft.com/office/drawing/2014/main" id="{283453A5-1ADF-4410-BA6E-F563ACEE46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13">
              <a:extLst>
                <a:ext uri="{FF2B5EF4-FFF2-40B4-BE49-F238E27FC236}">
                  <a16:creationId xmlns:a16="http://schemas.microsoft.com/office/drawing/2014/main" id="{FF9EB3BA-FBD5-4CF6-9A47-4CDF3FF4C9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Rectangle 14">
              <a:extLst>
                <a:ext uri="{FF2B5EF4-FFF2-40B4-BE49-F238E27FC236}">
                  <a16:creationId xmlns:a16="http://schemas.microsoft.com/office/drawing/2014/main" id="{463CE9E1-DD4F-4CAA-87A2-2B847CE54D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15">
              <a:extLst>
                <a:ext uri="{FF2B5EF4-FFF2-40B4-BE49-F238E27FC236}">
                  <a16:creationId xmlns:a16="http://schemas.microsoft.com/office/drawing/2014/main" id="{04609731-94D0-4BC4-BA9C-AC445E8C56D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16">
              <a:extLst>
                <a:ext uri="{FF2B5EF4-FFF2-40B4-BE49-F238E27FC236}">
                  <a16:creationId xmlns:a16="http://schemas.microsoft.com/office/drawing/2014/main" id="{2E1D2227-C512-4F8E-A698-2856995B31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17">
              <a:extLst>
                <a:ext uri="{FF2B5EF4-FFF2-40B4-BE49-F238E27FC236}">
                  <a16:creationId xmlns:a16="http://schemas.microsoft.com/office/drawing/2014/main" id="{5C1859E4-97FB-4B26-A693-DEDEF501D3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18">
              <a:extLst>
                <a:ext uri="{FF2B5EF4-FFF2-40B4-BE49-F238E27FC236}">
                  <a16:creationId xmlns:a16="http://schemas.microsoft.com/office/drawing/2014/main" id="{7C7FED45-466B-426D-A33A-62BE93AAE7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19">
              <a:extLst>
                <a:ext uri="{FF2B5EF4-FFF2-40B4-BE49-F238E27FC236}">
                  <a16:creationId xmlns:a16="http://schemas.microsoft.com/office/drawing/2014/main" id="{92CFA76D-7C72-4489-90E0-EDE59C8CDA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389344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ark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D86AC41-762B-4924-A899-F81343A12E1E}"/>
              </a:ext>
            </a:extLst>
          </p:cNvPr>
          <p:cNvSpPr/>
          <p:nvPr userDrawn="1"/>
        </p:nvSpPr>
        <p:spPr>
          <a:xfrm>
            <a:off x="680" y="-1"/>
            <a:ext cx="457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42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8159" y="1521183"/>
            <a:ext cx="3969084" cy="44947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78156" y="1521184"/>
            <a:ext cx="3956020" cy="44947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D930A9A-C0DD-4B8F-B286-D07D532A2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8153" y="410669"/>
            <a:ext cx="3956020" cy="776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3853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4">
            <a:extLst>
              <a:ext uri="{FF2B5EF4-FFF2-40B4-BE49-F238E27FC236}">
                <a16:creationId xmlns:a16="http://schemas.microsoft.com/office/drawing/2014/main" id="{53519875-BD49-4350-B814-F352973D79A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938283" y="3060000"/>
            <a:ext cx="5267433" cy="738000"/>
            <a:chOff x="0" y="1622"/>
            <a:chExt cx="7680" cy="1076"/>
          </a:xfrm>
          <a:solidFill>
            <a:schemeClr val="bg1"/>
          </a:solidFill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456EA5B2-0338-429C-A77D-A5D9789B3D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4A78F2C2-99E8-409B-8ABB-FD9A1A223E4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DCBCB4A1-FEBA-4D29-8AE2-487CEF4CBA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AB242C2F-9174-4FEB-AC63-0EA7D8F20EB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CCE1D49D-1021-4EA2-862A-5E607B0851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Rectangle 10">
              <a:extLst>
                <a:ext uri="{FF2B5EF4-FFF2-40B4-BE49-F238E27FC236}">
                  <a16:creationId xmlns:a16="http://schemas.microsoft.com/office/drawing/2014/main" id="{87CCBBAE-2EC9-4670-9504-EDD723487A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1E15713B-898B-4081-A99E-2DB80B76B0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A244DEC2-E5EC-430A-B3CB-0B3C75D365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FC082240-5FDE-40D5-AC43-74C573CDB3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Rectangle 14">
              <a:extLst>
                <a:ext uri="{FF2B5EF4-FFF2-40B4-BE49-F238E27FC236}">
                  <a16:creationId xmlns:a16="http://schemas.microsoft.com/office/drawing/2014/main" id="{8188A171-BB82-4B29-B481-82C842EE14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15">
              <a:extLst>
                <a:ext uri="{FF2B5EF4-FFF2-40B4-BE49-F238E27FC236}">
                  <a16:creationId xmlns:a16="http://schemas.microsoft.com/office/drawing/2014/main" id="{EFEE50A2-9F71-456F-AC28-E242BD40462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16">
              <a:extLst>
                <a:ext uri="{FF2B5EF4-FFF2-40B4-BE49-F238E27FC236}">
                  <a16:creationId xmlns:a16="http://schemas.microsoft.com/office/drawing/2014/main" id="{5157D99F-A0A2-4BE8-86E0-CD13B4C417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17">
              <a:extLst>
                <a:ext uri="{FF2B5EF4-FFF2-40B4-BE49-F238E27FC236}">
                  <a16:creationId xmlns:a16="http://schemas.microsoft.com/office/drawing/2014/main" id="{DE525557-DCF4-4899-BC52-F7082251F8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18">
              <a:extLst>
                <a:ext uri="{FF2B5EF4-FFF2-40B4-BE49-F238E27FC236}">
                  <a16:creationId xmlns:a16="http://schemas.microsoft.com/office/drawing/2014/main" id="{26899031-F578-48C1-8C6B-A695AD3E32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id="{357F4525-A97E-4091-9007-13163C51F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640178457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83387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ght Gre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9D7C87-D037-4797-9A6A-B999C6F02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159" y="1521186"/>
            <a:ext cx="8526014" cy="3815631"/>
          </a:xfrm>
        </p:spPr>
        <p:txBody>
          <a:bodyPr anchor="ctr"/>
          <a:lstStyle>
            <a:lvl1pPr algn="ctr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9350057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 (Insert &gt; Header &amp; Footer to edit) - CONFIDENT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830587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837438" y="4753876"/>
            <a:ext cx="432489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837438" y="5006161"/>
            <a:ext cx="432489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837438" y="5258447"/>
            <a:ext cx="432489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837438" y="2718323"/>
            <a:ext cx="6169658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10A580A-D290-4EAD-9DFF-6F5C718528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024"/>
          <a:stretch/>
        </p:blipFill>
        <p:spPr>
          <a:xfrm>
            <a:off x="0" y="0"/>
            <a:ext cx="9144000" cy="6863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4421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6" y="1623485"/>
            <a:ext cx="8135939" cy="4614333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07327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tandard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26" y="1623485"/>
            <a:ext cx="813593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F5BDB55-6F87-4230-9466-FD7DD07E093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0763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780169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254594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FBDFF6-8BAC-4B86-BF48-05F6F046542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0763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559410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5" y="1623485"/>
            <a:ext cx="3816350" cy="46143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24414" y="1623485"/>
            <a:ext cx="3816350" cy="46143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8452626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wo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4825" y="1623485"/>
            <a:ext cx="3816350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24414" y="1623485"/>
            <a:ext cx="3816350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2913731-5343-4A6B-BF9B-C5DB282448A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0763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1902635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BF4024-250B-4DF0-88FD-894C7422F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BF4024-250B-4DF0-88FD-894C7422F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240ED2-4EC0-4518-89F1-BBB2F52D74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3492500" cy="685190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B71538-B430-4B25-AB35-31746FF03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5937" y="508000"/>
            <a:ext cx="4032052" cy="931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42523A-C070-4FDB-86F7-7875D41CCDA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10264BD-5203-49E4-BC0F-3E4178D54B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E744C28-1BF7-4E7F-A965-D914E61E58F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A17CC56-2B12-4A59-950F-3DCB9600CED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95936" y="1623484"/>
            <a:ext cx="4644828" cy="46143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2903262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ical im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651500" y="0"/>
            <a:ext cx="3492500" cy="685190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A2ED915-94F6-46CD-826E-92A745D55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60763" y="288002"/>
            <a:ext cx="480001" cy="609729"/>
          </a:xfrm>
          <a:blipFill dpi="0" rotWithShape="1">
            <a:blip r:embed="rId5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493118-70BE-49DA-9C6C-347B4D8A8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493118-70BE-49DA-9C6C-347B4D8A8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1B156F3-CF8C-4CDD-A03E-A24D93085D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23F61C-4E8C-4FD1-B6ED-B2BBE09DE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7" y="508000"/>
            <a:ext cx="4535575" cy="931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15EEC5-0A06-4B5F-809B-FA1044DD41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31F658F-CD8F-4E6E-BDBA-CBEEDB56840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9D84B06-2D47-45F2-9684-460ADDAA2DA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A4E067B-840F-47D3-B48B-45596F55FF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4826" y="1623485"/>
            <a:ext cx="4535576" cy="46143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983019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829" y="1521184"/>
            <a:ext cx="6422760" cy="3817442"/>
          </a:xfrm>
        </p:spPr>
        <p:txBody>
          <a:bodyPr anchor="ctr"/>
          <a:lstStyle>
            <a:lvl1pPr marL="0" indent="0">
              <a:buNone/>
              <a:defRPr sz="4000" b="0">
                <a:solidFill>
                  <a:schemeClr val="bg1"/>
                </a:solidFill>
                <a:latin typeface="+mj-lt"/>
              </a:defRPr>
            </a:lvl1pPr>
            <a:lvl2pPr marL="521258" indent="0">
              <a:buNone/>
              <a:defRPr sz="2280">
                <a:solidFill>
                  <a:schemeClr val="tx1">
                    <a:tint val="75000"/>
                  </a:schemeClr>
                </a:solidFill>
              </a:defRPr>
            </a:lvl2pPr>
            <a:lvl3pPr marL="1042512" indent="0">
              <a:buNone/>
              <a:defRPr sz="2052">
                <a:solidFill>
                  <a:schemeClr val="tx1">
                    <a:tint val="75000"/>
                  </a:schemeClr>
                </a:solidFill>
              </a:defRPr>
            </a:lvl3pPr>
            <a:lvl4pPr marL="156377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4pPr>
            <a:lvl5pPr marL="2085031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5pPr>
            <a:lvl6pPr marL="2606285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6pPr>
            <a:lvl7pPr marL="312754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7pPr>
            <a:lvl8pPr marL="3648803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8pPr>
            <a:lvl9pPr marL="4170060" indent="0">
              <a:buNone/>
              <a:defRPr sz="182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B47DF7D0-E13C-497A-8A71-C5A8B4D7F6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63409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4241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96B7A6-8E09-43BE-AD8E-4D7F6C40B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96B7A6-8E09-43BE-AD8E-4D7F6C40B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80C839-211D-4D2C-84AA-B3FFFB3A69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" y="1623484"/>
            <a:ext cx="5656880" cy="461433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41FA11C-355A-42A0-8ACC-631313FC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361182E-6B7A-4849-BC57-86A86014FF8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52FD04A-862C-4934-BC73-93BBD939EFD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BB82D07-B33E-49CB-AC52-C6579322403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4820880-CEF8-4B01-8B09-8EC1A7E2F0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72147" y="1623484"/>
            <a:ext cx="2768616" cy="46143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1675725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502618" y="1623485"/>
            <a:ext cx="5641383" cy="461433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250E1E-97E8-4411-B532-AD7CE1F30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AA891F-E92C-403A-BFCC-535E846FAA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82573C8-E590-4CEE-84C0-E3B118D75FA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A0AFB-ED51-4458-A2A2-DDC32D4086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D241E64-67CD-4CA0-81D4-1083916DD1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4825" y="1623484"/>
            <a:ext cx="2757568" cy="46143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539326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04825" y="1623485"/>
            <a:ext cx="3816350" cy="312851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733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824414" y="1623485"/>
            <a:ext cx="3816350" cy="312851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733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AB248D-57C3-42BE-B1A8-E7FC1A387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1C86-B158-41D0-A938-63F01F33576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26D6C4-8F10-4092-B714-9020C41BB82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ADD015-4119-4EA1-B431-858F91EA5FD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DAA8A-021C-4EC1-B26E-48889996AA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4825" y="5004003"/>
            <a:ext cx="3816350" cy="123381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8F5822-A908-4933-8FD3-A83B190BF6E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824414" y="5004003"/>
            <a:ext cx="3816350" cy="123381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985694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F063C06-AE5B-4F6F-9C37-FBE1184F3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F063C06-AE5B-4F6F-9C37-FBE1184F3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D051A0-039D-42D9-A58B-EA14A08412F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04826" y="1623485"/>
            <a:ext cx="8135939" cy="461433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/>
          <a:lstStyle>
            <a:lvl1pPr marL="0" indent="0">
              <a:buNone/>
              <a:defRPr sz="18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E0F8291-C16C-4418-9B6D-28D21CA7A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BB389B-3B07-4E50-B6D9-4F152C7670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86D7D42-1612-4F34-9E0C-4BB0F061DDF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40F500-5589-4B84-923C-8EFC4E3CAED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2768811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65797D4-FD91-4A72-BFB7-8798A1097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B80F89-4AE5-4088-80FE-245322572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8167E6-9B12-4AF6-B568-50379A338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7710971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89AD4B-CD2A-4E02-85A1-532A4A251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89AD4B-CD2A-4E02-85A1-532A4A251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7ACB5B-4858-4068-9665-FC3C21C1065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9144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insert photo (16:9)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1F548E2F-0354-46E1-A24B-261AE84898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60763" y="288002"/>
            <a:ext cx="480001" cy="609729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808760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89AD4B-CD2A-4E02-85A1-532A4A251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89AD4B-CD2A-4E02-85A1-532A4A251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462C7498-3AB5-4406-913C-71CCEC8866D0}"/>
              </a:ext>
            </a:extLst>
          </p:cNvPr>
          <p:cNvSpPr>
            <a:spLocks noGrp="1"/>
          </p:cNvSpPr>
          <p:nvPr>
            <p:ph type="media" sz="quarter" idx="22" hasCustomPrompt="1"/>
          </p:nvPr>
        </p:nvSpPr>
        <p:spPr>
          <a:xfrm>
            <a:off x="0" y="0"/>
            <a:ext cx="9144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insert video (16:9)</a:t>
            </a:r>
          </a:p>
        </p:txBody>
      </p:sp>
    </p:spTree>
    <p:extLst>
      <p:ext uri="{BB962C8B-B14F-4D97-AF65-F5344CB8AC3E}">
        <p14:creationId xmlns:p14="http://schemas.microsoft.com/office/powerpoint/2010/main" val="281053381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3" y="2052000"/>
            <a:ext cx="6478313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3522815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3" y="2052000"/>
            <a:ext cx="6478313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C57261-5499-4DE6-85F6-DB3FBDA4C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0763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8975550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1F58990-F6FE-47C5-BC21-2A45263505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1F58990-F6FE-47C5-BC21-2A4526350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0"/>
            <a:ext cx="3492500" cy="6858000"/>
          </a:xfrm>
          <a:prstGeom prst="rect">
            <a:avLst/>
          </a:prstGeom>
          <a:solidFill>
            <a:srgbClr val="004D79">
              <a:alpha val="89804"/>
            </a:srgb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17501" y="1625597"/>
            <a:ext cx="2851150" cy="425061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AB25F741-4DE1-41E1-8A68-93B346DCAE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60762" y="288002"/>
            <a:ext cx="480002" cy="609729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8657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354EE-31EA-4FC2-9496-7B620218323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D5FF552-6074-447D-AD5E-8C1C43CCBFB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9690" y="1521185"/>
            <a:ext cx="8524748" cy="449473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77F6106-20AC-4F4E-811D-6D4EBFC2BE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03471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622BA5-BC34-4A58-9264-E2D05A0F24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622BA5-BC34-4A58-9264-E2D05A0F2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651502" y="0"/>
            <a:ext cx="3492500" cy="68580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964002" y="1625601"/>
            <a:ext cx="2865673" cy="42513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44F2F4B-E879-4BE3-9025-B141AB973C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60762" y="288002"/>
            <a:ext cx="480002" cy="609729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1837221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DA24CE-89CA-4008-85D4-D98FA9672B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DA24CE-89CA-4008-85D4-D98FA9672B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5245103"/>
            <a:ext cx="9144000" cy="16129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04825" y="5624423"/>
            <a:ext cx="8135938" cy="86994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5F5E3C89-432B-4189-A9DB-63D8685950B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60762" y="288002"/>
            <a:ext cx="480002" cy="609729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1067931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small overla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BAA68A-08EA-496D-B665-88DDACBC07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BAA68A-08EA-496D-B665-88DDACBC0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4825" y="3239400"/>
            <a:ext cx="3510000" cy="2628000"/>
          </a:xfrm>
          <a:prstGeom prst="rect">
            <a:avLst/>
          </a:prstGeom>
          <a:solidFill>
            <a:srgbClr val="004D79">
              <a:alpha val="90000"/>
            </a:srgbClr>
          </a:solidFill>
        </p:spPr>
        <p:txBody>
          <a:bodyPr lIns="134955" tIns="134955" rIns="134955" bIns="134955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BAA47A5-77A8-426B-9D3C-B7AE2CC8E0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60762" y="288002"/>
            <a:ext cx="480002" cy="609729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0723916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small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486757-F9A3-4F23-8717-59ECFD7A89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486757-F9A3-4F23-8717-59ECFD7A8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0763" y="998220"/>
            <a:ext cx="3510000" cy="2628000"/>
          </a:xfrm>
          <a:prstGeom prst="rect">
            <a:avLst/>
          </a:prstGeom>
          <a:solidFill>
            <a:srgbClr val="004D79">
              <a:alpha val="90000"/>
            </a:srgbClr>
          </a:solidFill>
        </p:spPr>
        <p:txBody>
          <a:bodyPr lIns="134955" tIns="134955" rIns="134955" bIns="134955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B49F01F8-AD9A-4CA3-9EF0-E48A977F1C1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60762" y="288002"/>
            <a:ext cx="480002" cy="609729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495926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3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50CE0E-F179-458C-AEB1-36BDA9AF4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50CE0E-F179-458C-AEB1-36BDA9AF4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E540E8-853F-49F5-AAA0-593FDDFCB4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Titel 4"/>
          <p:cNvSpPr>
            <a:spLocks noGrp="1"/>
          </p:cNvSpPr>
          <p:nvPr>
            <p:ph type="title" hasCustomPrompt="1"/>
          </p:nvPr>
        </p:nvSpPr>
        <p:spPr>
          <a:xfrm>
            <a:off x="2529843" y="52207"/>
            <a:ext cx="5241404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C2BE2D-951F-4D2E-A248-5E79BA206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471161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me period, data scenari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41B2E9-68F4-4A38-9D55-0A18643918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456" y="52207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058F3F5-669F-4BEE-968A-F64356A6CD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456" y="261684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, unit measuremen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762C03-275A-4B1F-B234-561444D869D2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9E35EF-ADB2-4164-B32F-9BDCE33D215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5F407-F7B2-457F-BADC-5D7E348202A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C4A983AC-6F9B-471B-87E8-D4505A31FE4E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0FB69-E866-4F1C-87F8-ADA6A511DB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4457" y="1264357"/>
            <a:ext cx="8955089" cy="50348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059234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4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B418BD-1930-49DC-9A84-017861466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B418BD-1930-49DC-9A84-017861466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94897C-9089-4E46-A4DC-D9375AE2C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471161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680640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52207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261684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24" name="Titel 4"/>
          <p:cNvSpPr>
            <a:spLocks noGrp="1"/>
          </p:cNvSpPr>
          <p:nvPr>
            <p:ph type="title" hasCustomPrompt="1"/>
          </p:nvPr>
        </p:nvSpPr>
        <p:spPr>
          <a:xfrm>
            <a:off x="2529843" y="52207"/>
            <a:ext cx="5241404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C9809-688D-4100-A0FE-DB6EB41BC2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164E04-503E-48E0-8056-F4A846A8D60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E3274A-0D5B-4B5E-963A-4AD0C038490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073504F8-A36C-4A96-9962-DBD59D731B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7E0385-9465-469B-9CA7-ABB0EB4E48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7" y="1264358"/>
            <a:ext cx="8955089" cy="50348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80903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orient="horz" pos="712">
          <p15:clr>
            <a:srgbClr val="FBAE40"/>
          </p15:clr>
        </p15:guide>
        <p15:guide id="3" pos="5697">
          <p15:clr>
            <a:srgbClr val="FBAE40"/>
          </p15:clr>
        </p15:guide>
        <p15:guide id="4" orient="horz" pos="524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C896B7-FACB-4D7B-A4F4-8CE484CBA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C896B7-FACB-4D7B-A4F4-8CE484CBA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DAA302-4954-4070-845B-E3247AC801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2529843" y="52207"/>
            <a:ext cx="5241404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913354F-6E59-49EF-93BE-EAF0DC89F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471161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171BA3-E603-4FDD-B59F-EF9A1D5D5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680640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D21293-C0ED-4019-808D-8F22DD7C37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52207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DAF2D5-0296-4D0F-805B-B7D70457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261684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0E6CF-65D4-44D5-BB75-32FC616FF2E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B535E-80AA-4B5F-B505-6AE4D82B205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79868-A62C-4FF8-88BB-692DFBB3AF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8CA4B699-1B76-42B1-970D-8B5F927F5D43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7770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5245">
          <p15:clr>
            <a:srgbClr val="FBAE40"/>
          </p15:clr>
        </p15:guide>
        <p15:guide id="4" orient="horz" pos="712">
          <p15:clr>
            <a:srgbClr val="FBAE40"/>
          </p15:clr>
        </p15:guide>
        <p15:guide id="5" orient="horz" pos="68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no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47BB81-5ED6-4620-B6AB-9F7CAE2CB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47BB81-5ED6-4620-B6AB-9F7CAE2CB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4C154A-EDEF-494B-95FD-05C9428083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2529843" y="52207"/>
            <a:ext cx="5241404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B18CF-CA9C-4A69-B7C8-A4C94FF29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AD015-F4ED-4FC4-A52C-B985B1A9C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7AFA2-6720-468E-9F40-2499D9FB7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50CCBDD5-A078-4F63-AC4E-A4BB95B75007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4480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5245">
          <p15:clr>
            <a:srgbClr val="FBAE40"/>
          </p15:clr>
        </p15:guide>
        <p15:guide id="4" orient="horz" pos="712">
          <p15:clr>
            <a:srgbClr val="FBAE40"/>
          </p15:clr>
        </p15:guide>
        <p15:guide id="5" orient="horz" pos="68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73966E-CFE3-49CC-B52A-C5B637544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73966E-CFE3-49CC-B52A-C5B637544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FC3CDD-A9EE-4A29-BDB5-DDD9F2931D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itel 4"/>
          <p:cNvSpPr>
            <a:spLocks noGrp="1"/>
          </p:cNvSpPr>
          <p:nvPr>
            <p:ph type="title" hasCustomPrompt="1"/>
          </p:nvPr>
        </p:nvSpPr>
        <p:spPr>
          <a:xfrm>
            <a:off x="2529843" y="52207"/>
            <a:ext cx="5241404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BB6E0D-3F39-440A-BD9D-79E5F24876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471161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E28750-0E4B-4D33-9132-AD81766D92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680640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C5D1072-8A57-4985-9114-7AB80099D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52207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22D0EE4-A772-43CA-87B6-4AAA26C16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261684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2124D-0640-4AE6-AECC-F4880DA1C39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E07C9-1AA8-427A-8D3F-F90DA800C5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797C04-425D-49F7-8B2B-D4A178C161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F4A6D036-B440-4848-AD09-10D95A6851EB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8D6D76-355E-455E-9573-01D135D9D9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55362" y="1264358"/>
            <a:ext cx="2694184" cy="50348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77556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5245">
          <p15:clr>
            <a:srgbClr val="FBAE40"/>
          </p15:clr>
        </p15:guide>
        <p15:guide id="4" orient="horz" pos="712">
          <p15:clr>
            <a:srgbClr val="FBAE40"/>
          </p15:clr>
        </p15:guide>
        <p15:guide id="5" orient="horz" pos="68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039C25-38EE-4409-8846-AD3780FDA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9" name="think-cell Slide" r:id="rId6" imgW="479" imgH="478" progId="TCLayout.ActiveDocument.1">
                  <p:embed/>
                </p:oleObj>
              </mc:Choice>
              <mc:Fallback>
                <p:oleObj name="think-cell Slide" r:id="rId6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039C25-38EE-4409-8846-AD3780FD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31B7F0-8291-45AD-B310-18C6F32C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el 4"/>
          <p:cNvSpPr>
            <a:spLocks noGrp="1"/>
          </p:cNvSpPr>
          <p:nvPr>
            <p:ph type="title" hasCustomPrompt="1"/>
          </p:nvPr>
        </p:nvSpPr>
        <p:spPr>
          <a:xfrm>
            <a:off x="2529843" y="52207"/>
            <a:ext cx="5241404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66FA14-A13E-4C88-AA9E-2E47483D50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456" y="471161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8432D-6F74-40F0-A171-A0B5FD017F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456" y="680640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023FC6-6139-470D-844E-BC0D615613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456" y="52207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569437-C2DB-4F3A-9508-BB720F4BFE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456" y="261684"/>
            <a:ext cx="2349942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807E-C4CE-4AA4-8ED9-448491339E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8CB85-32FF-48FD-9896-C7B7E8F6ED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0397-EA1F-41BE-8CB8-EE87F91FA0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C539D5CE-18F8-4235-A29E-31342295EE06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0" y="1190047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6F1E93-15E1-4055-8C44-6E1B52D56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456" y="4704081"/>
            <a:ext cx="3817122" cy="159512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8331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5245">
          <p15:clr>
            <a:srgbClr val="FBAE40"/>
          </p15:clr>
        </p15:guide>
        <p15:guide id="4" orient="horz" pos="712">
          <p15:clr>
            <a:srgbClr val="FBAE40"/>
          </p15:clr>
        </p15:guide>
        <p15:guide id="5" orient="horz" pos="6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161" y="411083"/>
            <a:ext cx="8526014" cy="7760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8E40116B-71CA-472D-8400-6F4605D9D05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9689" y="1521185"/>
            <a:ext cx="8524485" cy="449473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buClr>
                <a:schemeClr val="accent3"/>
              </a:buClr>
              <a:defRPr sz="2200">
                <a:solidFill>
                  <a:schemeClr val="bg1"/>
                </a:solidFill>
              </a:defRPr>
            </a:lvl4pPr>
            <a:lvl5pPr>
              <a:buClr>
                <a:schemeClr val="accent3"/>
              </a:buCl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89076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015A734-8833-40B0-B552-7E0D19D71D9B}"/>
              </a:ext>
            </a:extLst>
          </p:cNvPr>
          <p:cNvPicPr>
            <a:picLocks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808998" y="2457117"/>
            <a:ext cx="1526003" cy="19437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87303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07505" y="6237312"/>
            <a:ext cx="8928992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41" tIns="54420" rIns="108841" bIns="54420" rtlCol="0" anchor="ctr"/>
          <a:lstStyle/>
          <a:p>
            <a:pPr algn="ctr"/>
            <a:endParaRPr lang="en-US" sz="3200" dirty="0"/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504EB948-CE93-4904-B0E0-80456F6643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8998" y="2459033"/>
            <a:ext cx="1526003" cy="1939933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10918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89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theme" Target="../theme/theme4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slideLayout" Target="../slideLayouts/slideLayout91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Relationship Id="rId35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8159" y="410669"/>
            <a:ext cx="8526014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8159" y="1521182"/>
            <a:ext cx="8526014" cy="449473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682" y="6332830"/>
            <a:ext cx="896150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0275" y="6332830"/>
            <a:ext cx="3837017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en-US"/>
              <a:t>Footer (Insert &gt; Header &amp; Footer to edit) -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8161" y="6332830"/>
            <a:ext cx="380447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1904BA4D-1AFB-42A4-8284-784441CF6C6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226038" y="6332830"/>
            <a:ext cx="608400" cy="148182"/>
            <a:chOff x="2071" y="1578"/>
            <a:chExt cx="2587" cy="631"/>
          </a:xfrm>
          <a:gradFill>
            <a:gsLst>
              <a:gs pos="50000">
                <a:srgbClr val="00E487"/>
              </a:gs>
              <a:gs pos="100000">
                <a:srgbClr val="1ECBD0"/>
              </a:gs>
            </a:gsLst>
            <a:lin ang="18900000" scaled="0"/>
          </a:gradFill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AE554E6-16CB-4176-987F-3AF6305F72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65" y="1728"/>
              <a:ext cx="244" cy="318"/>
            </a:xfrm>
            <a:custGeom>
              <a:avLst/>
              <a:gdLst>
                <a:gd name="T0" fmla="*/ 12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2 w 129"/>
                <a:gd name="T7" fmla="*/ 29 h 168"/>
                <a:gd name="T8" fmla="*/ 48 w 129"/>
                <a:gd name="T9" fmla="*/ 29 h 168"/>
                <a:gd name="T10" fmla="*/ 48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2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2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40"/>
                    <a:pt x="48" y="140"/>
                    <a:pt x="48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8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1"/>
                    <a:pt x="75" y="0"/>
                    <a:pt x="72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AEC65459-58EA-4F3D-8A43-721FE0A15E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8" y="1728"/>
              <a:ext cx="244" cy="318"/>
            </a:xfrm>
            <a:custGeom>
              <a:avLst/>
              <a:gdLst>
                <a:gd name="T0" fmla="*/ 11 w 129"/>
                <a:gd name="T1" fmla="*/ 0 h 168"/>
                <a:gd name="T2" fmla="*/ 8 w 129"/>
                <a:gd name="T3" fmla="*/ 4 h 168"/>
                <a:gd name="T4" fmla="*/ 8 w 129"/>
                <a:gd name="T5" fmla="*/ 25 h 168"/>
                <a:gd name="T6" fmla="*/ 11 w 129"/>
                <a:gd name="T7" fmla="*/ 29 h 168"/>
                <a:gd name="T8" fmla="*/ 47 w 129"/>
                <a:gd name="T9" fmla="*/ 29 h 168"/>
                <a:gd name="T10" fmla="*/ 47 w 129"/>
                <a:gd name="T11" fmla="*/ 140 h 168"/>
                <a:gd name="T12" fmla="*/ 3 w 129"/>
                <a:gd name="T13" fmla="*/ 140 h 168"/>
                <a:gd name="T14" fmla="*/ 0 w 129"/>
                <a:gd name="T15" fmla="*/ 143 h 168"/>
                <a:gd name="T16" fmla="*/ 0 w 129"/>
                <a:gd name="T17" fmla="*/ 165 h 168"/>
                <a:gd name="T18" fmla="*/ 3 w 129"/>
                <a:gd name="T19" fmla="*/ 168 h 168"/>
                <a:gd name="T20" fmla="*/ 125 w 129"/>
                <a:gd name="T21" fmla="*/ 168 h 168"/>
                <a:gd name="T22" fmla="*/ 129 w 129"/>
                <a:gd name="T23" fmla="*/ 165 h 168"/>
                <a:gd name="T24" fmla="*/ 129 w 129"/>
                <a:gd name="T25" fmla="*/ 143 h 168"/>
                <a:gd name="T26" fmla="*/ 125 w 129"/>
                <a:gd name="T27" fmla="*/ 140 h 168"/>
                <a:gd name="T28" fmla="*/ 76 w 129"/>
                <a:gd name="T29" fmla="*/ 140 h 168"/>
                <a:gd name="T30" fmla="*/ 76 w 129"/>
                <a:gd name="T31" fmla="*/ 4 h 168"/>
                <a:gd name="T32" fmla="*/ 72 w 129"/>
                <a:gd name="T33" fmla="*/ 0 h 168"/>
                <a:gd name="T34" fmla="*/ 11 w 129"/>
                <a:gd name="T3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68">
                  <a:moveTo>
                    <a:pt x="11" y="0"/>
                  </a:moveTo>
                  <a:cubicBezTo>
                    <a:pt x="9" y="0"/>
                    <a:pt x="8" y="1"/>
                    <a:pt x="8" y="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7"/>
                    <a:pt x="9" y="29"/>
                    <a:pt x="11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140"/>
                    <a:pt x="47" y="140"/>
                    <a:pt x="47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1" y="140"/>
                    <a:pt x="0" y="141"/>
                    <a:pt x="0" y="143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0" y="167"/>
                    <a:pt x="1" y="168"/>
                    <a:pt x="3" y="168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28" y="168"/>
                    <a:pt x="129" y="167"/>
                    <a:pt x="129" y="165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9" y="141"/>
                    <a:pt x="127" y="140"/>
                    <a:pt x="125" y="140"/>
                  </a:cubicBezTo>
                  <a:cubicBezTo>
                    <a:pt x="76" y="140"/>
                    <a:pt x="76" y="140"/>
                    <a:pt x="76" y="140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5" y="1"/>
                    <a:pt x="74" y="0"/>
                    <a:pt x="72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7EF15D6C-5F12-4679-A3CE-298E60CFDA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1" y="1728"/>
              <a:ext cx="297" cy="464"/>
            </a:xfrm>
            <a:custGeom>
              <a:avLst/>
              <a:gdLst>
                <a:gd name="T0" fmla="*/ 132 w 157"/>
                <a:gd name="T1" fmla="*/ 0 h 245"/>
                <a:gd name="T2" fmla="*/ 127 w 157"/>
                <a:gd name="T3" fmla="*/ 3 h 245"/>
                <a:gd name="T4" fmla="*/ 127 w 157"/>
                <a:gd name="T5" fmla="*/ 3 h 245"/>
                <a:gd name="T6" fmla="*/ 79 w 157"/>
                <a:gd name="T7" fmla="*/ 128 h 245"/>
                <a:gd name="T8" fmla="*/ 30 w 157"/>
                <a:gd name="T9" fmla="*/ 4 h 245"/>
                <a:gd name="T10" fmla="*/ 25 w 157"/>
                <a:gd name="T11" fmla="*/ 0 h 245"/>
                <a:gd name="T12" fmla="*/ 4 w 157"/>
                <a:gd name="T13" fmla="*/ 0 h 245"/>
                <a:gd name="T14" fmla="*/ 0 w 157"/>
                <a:gd name="T15" fmla="*/ 3 h 245"/>
                <a:gd name="T16" fmla="*/ 1 w 157"/>
                <a:gd name="T17" fmla="*/ 6 h 245"/>
                <a:gd name="T18" fmla="*/ 1 w 157"/>
                <a:gd name="T19" fmla="*/ 6 h 245"/>
                <a:gd name="T20" fmla="*/ 1 w 157"/>
                <a:gd name="T21" fmla="*/ 6 h 245"/>
                <a:gd name="T22" fmla="*/ 64 w 157"/>
                <a:gd name="T23" fmla="*/ 168 h 245"/>
                <a:gd name="T24" fmla="*/ 59 w 157"/>
                <a:gd name="T25" fmla="*/ 182 h 245"/>
                <a:gd name="T26" fmla="*/ 48 w 157"/>
                <a:gd name="T27" fmla="*/ 205 h 245"/>
                <a:gd name="T28" fmla="*/ 38 w 157"/>
                <a:gd name="T29" fmla="*/ 215 h 245"/>
                <a:gd name="T30" fmla="*/ 30 w 157"/>
                <a:gd name="T31" fmla="*/ 217 h 245"/>
                <a:gd name="T32" fmla="*/ 26 w 157"/>
                <a:gd name="T33" fmla="*/ 216 h 245"/>
                <a:gd name="T34" fmla="*/ 14 w 157"/>
                <a:gd name="T35" fmla="*/ 213 h 245"/>
                <a:gd name="T36" fmla="*/ 7 w 157"/>
                <a:gd name="T37" fmla="*/ 210 h 245"/>
                <a:gd name="T38" fmla="*/ 3 w 157"/>
                <a:gd name="T39" fmla="*/ 215 h 245"/>
                <a:gd name="T40" fmla="*/ 3 w 157"/>
                <a:gd name="T41" fmla="*/ 233 h 245"/>
                <a:gd name="T42" fmla="*/ 3 w 157"/>
                <a:gd name="T43" fmla="*/ 233 h 245"/>
                <a:gd name="T44" fmla="*/ 7 w 157"/>
                <a:gd name="T45" fmla="*/ 240 h 245"/>
                <a:gd name="T46" fmla="*/ 32 w 157"/>
                <a:gd name="T47" fmla="*/ 245 h 245"/>
                <a:gd name="T48" fmla="*/ 54 w 157"/>
                <a:gd name="T49" fmla="*/ 238 h 245"/>
                <a:gd name="T50" fmla="*/ 73 w 157"/>
                <a:gd name="T51" fmla="*/ 220 h 245"/>
                <a:gd name="T52" fmla="*/ 79 w 157"/>
                <a:gd name="T53" fmla="*/ 208 h 245"/>
                <a:gd name="T54" fmla="*/ 156 w 157"/>
                <a:gd name="T55" fmla="*/ 6 h 245"/>
                <a:gd name="T56" fmla="*/ 157 w 157"/>
                <a:gd name="T57" fmla="*/ 3 h 245"/>
                <a:gd name="T58" fmla="*/ 153 w 157"/>
                <a:gd name="T59" fmla="*/ 0 h 245"/>
                <a:gd name="T60" fmla="*/ 132 w 157"/>
                <a:gd name="T61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7" h="245">
                  <a:moveTo>
                    <a:pt x="132" y="0"/>
                  </a:moveTo>
                  <a:cubicBezTo>
                    <a:pt x="129" y="0"/>
                    <a:pt x="128" y="1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1"/>
                    <a:pt x="28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4" y="168"/>
                    <a:pt x="64" y="168"/>
                    <a:pt x="64" y="168"/>
                  </a:cubicBezTo>
                  <a:cubicBezTo>
                    <a:pt x="59" y="182"/>
                    <a:pt x="59" y="182"/>
                    <a:pt x="59" y="182"/>
                  </a:cubicBezTo>
                  <a:cubicBezTo>
                    <a:pt x="57" y="187"/>
                    <a:pt x="53" y="199"/>
                    <a:pt x="48" y="205"/>
                  </a:cubicBezTo>
                  <a:cubicBezTo>
                    <a:pt x="44" y="211"/>
                    <a:pt x="42" y="213"/>
                    <a:pt x="38" y="215"/>
                  </a:cubicBezTo>
                  <a:cubicBezTo>
                    <a:pt x="35" y="216"/>
                    <a:pt x="33" y="217"/>
                    <a:pt x="30" y="217"/>
                  </a:cubicBezTo>
                  <a:cubicBezTo>
                    <a:pt x="28" y="217"/>
                    <a:pt x="27" y="217"/>
                    <a:pt x="26" y="216"/>
                  </a:cubicBezTo>
                  <a:cubicBezTo>
                    <a:pt x="22" y="216"/>
                    <a:pt x="18" y="214"/>
                    <a:pt x="14" y="213"/>
                  </a:cubicBezTo>
                  <a:cubicBezTo>
                    <a:pt x="11" y="212"/>
                    <a:pt x="9" y="210"/>
                    <a:pt x="7" y="210"/>
                  </a:cubicBezTo>
                  <a:cubicBezTo>
                    <a:pt x="5" y="210"/>
                    <a:pt x="3" y="212"/>
                    <a:pt x="3" y="215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3"/>
                    <a:pt x="3" y="233"/>
                    <a:pt x="3" y="233"/>
                  </a:cubicBezTo>
                  <a:cubicBezTo>
                    <a:pt x="3" y="236"/>
                    <a:pt x="4" y="238"/>
                    <a:pt x="7" y="240"/>
                  </a:cubicBezTo>
                  <a:cubicBezTo>
                    <a:pt x="15" y="243"/>
                    <a:pt x="21" y="245"/>
                    <a:pt x="32" y="245"/>
                  </a:cubicBezTo>
                  <a:cubicBezTo>
                    <a:pt x="41" y="244"/>
                    <a:pt x="47" y="242"/>
                    <a:pt x="54" y="238"/>
                  </a:cubicBezTo>
                  <a:cubicBezTo>
                    <a:pt x="61" y="233"/>
                    <a:pt x="67" y="227"/>
                    <a:pt x="73" y="220"/>
                  </a:cubicBezTo>
                  <a:cubicBezTo>
                    <a:pt x="75" y="216"/>
                    <a:pt x="77" y="212"/>
                    <a:pt x="79" y="208"/>
                  </a:cubicBezTo>
                  <a:cubicBezTo>
                    <a:pt x="83" y="200"/>
                    <a:pt x="144" y="40"/>
                    <a:pt x="156" y="6"/>
                  </a:cubicBezTo>
                  <a:cubicBezTo>
                    <a:pt x="157" y="5"/>
                    <a:pt x="157" y="4"/>
                    <a:pt x="157" y="3"/>
                  </a:cubicBezTo>
                  <a:cubicBezTo>
                    <a:pt x="157" y="1"/>
                    <a:pt x="155" y="0"/>
                    <a:pt x="153" y="0"/>
                  </a:cubicBezTo>
                  <a:lnTo>
                    <a:pt x="1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7D6A478E-FCAF-4573-B967-7423B97A02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7" y="1726"/>
              <a:ext cx="263" cy="322"/>
            </a:xfrm>
            <a:custGeom>
              <a:avLst/>
              <a:gdLst>
                <a:gd name="T0" fmla="*/ 28 w 139"/>
                <a:gd name="T1" fmla="*/ 21 h 170"/>
                <a:gd name="T2" fmla="*/ 28 w 139"/>
                <a:gd name="T3" fmla="*/ 6 h 170"/>
                <a:gd name="T4" fmla="*/ 25 w 139"/>
                <a:gd name="T5" fmla="*/ 3 h 170"/>
                <a:gd name="T6" fmla="*/ 4 w 139"/>
                <a:gd name="T7" fmla="*/ 3 h 170"/>
                <a:gd name="T8" fmla="*/ 0 w 139"/>
                <a:gd name="T9" fmla="*/ 6 h 170"/>
                <a:gd name="T10" fmla="*/ 0 w 139"/>
                <a:gd name="T11" fmla="*/ 167 h 170"/>
                <a:gd name="T12" fmla="*/ 4 w 139"/>
                <a:gd name="T13" fmla="*/ 170 h 170"/>
                <a:gd name="T14" fmla="*/ 25 w 139"/>
                <a:gd name="T15" fmla="*/ 170 h 170"/>
                <a:gd name="T16" fmla="*/ 28 w 139"/>
                <a:gd name="T17" fmla="*/ 167 h 170"/>
                <a:gd name="T18" fmla="*/ 28 w 139"/>
                <a:gd name="T19" fmla="*/ 68 h 170"/>
                <a:gd name="T20" fmla="*/ 70 w 139"/>
                <a:gd name="T21" fmla="*/ 28 h 170"/>
                <a:gd name="T22" fmla="*/ 111 w 139"/>
                <a:gd name="T23" fmla="*/ 68 h 170"/>
                <a:gd name="T24" fmla="*/ 111 w 139"/>
                <a:gd name="T25" fmla="*/ 167 h 170"/>
                <a:gd name="T26" fmla="*/ 111 w 139"/>
                <a:gd name="T27" fmla="*/ 167 h 170"/>
                <a:gd name="T28" fmla="*/ 114 w 139"/>
                <a:gd name="T29" fmla="*/ 170 h 170"/>
                <a:gd name="T30" fmla="*/ 136 w 139"/>
                <a:gd name="T31" fmla="*/ 170 h 170"/>
                <a:gd name="T32" fmla="*/ 139 w 139"/>
                <a:gd name="T33" fmla="*/ 167 h 170"/>
                <a:gd name="T34" fmla="*/ 139 w 139"/>
                <a:gd name="T35" fmla="*/ 68 h 170"/>
                <a:gd name="T36" fmla="*/ 139 w 139"/>
                <a:gd name="T37" fmla="*/ 68 h 170"/>
                <a:gd name="T38" fmla="*/ 139 w 139"/>
                <a:gd name="T39" fmla="*/ 68 h 170"/>
                <a:gd name="T40" fmla="*/ 120 w 139"/>
                <a:gd name="T41" fmla="*/ 20 h 170"/>
                <a:gd name="T42" fmla="*/ 70 w 139"/>
                <a:gd name="T43" fmla="*/ 0 h 170"/>
                <a:gd name="T44" fmla="*/ 28 w 139"/>
                <a:gd name="T45" fmla="*/ 2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170">
                  <a:moveTo>
                    <a:pt x="28" y="21"/>
                  </a:moveTo>
                  <a:cubicBezTo>
                    <a:pt x="28" y="6"/>
                    <a:pt x="28" y="6"/>
                    <a:pt x="28" y="6"/>
                  </a:cubicBezTo>
                  <a:cubicBezTo>
                    <a:pt x="28" y="4"/>
                    <a:pt x="27" y="3"/>
                    <a:pt x="2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69"/>
                    <a:pt x="1" y="170"/>
                    <a:pt x="4" y="170"/>
                  </a:cubicBezTo>
                  <a:cubicBezTo>
                    <a:pt x="25" y="170"/>
                    <a:pt x="25" y="170"/>
                    <a:pt x="25" y="170"/>
                  </a:cubicBezTo>
                  <a:cubicBezTo>
                    <a:pt x="27" y="170"/>
                    <a:pt x="28" y="169"/>
                    <a:pt x="28" y="1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49"/>
                    <a:pt x="42" y="28"/>
                    <a:pt x="70" y="28"/>
                  </a:cubicBezTo>
                  <a:cubicBezTo>
                    <a:pt x="97" y="28"/>
                    <a:pt x="111" y="49"/>
                    <a:pt x="111" y="68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7"/>
                    <a:pt x="111" y="167"/>
                    <a:pt x="111" y="167"/>
                  </a:cubicBezTo>
                  <a:cubicBezTo>
                    <a:pt x="111" y="169"/>
                    <a:pt x="112" y="170"/>
                    <a:pt x="114" y="170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8" y="170"/>
                    <a:pt x="139" y="169"/>
                    <a:pt x="139" y="167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68"/>
                    <a:pt x="139" y="68"/>
                    <a:pt x="139" y="68"/>
                  </a:cubicBezTo>
                  <a:cubicBezTo>
                    <a:pt x="139" y="51"/>
                    <a:pt x="133" y="35"/>
                    <a:pt x="120" y="20"/>
                  </a:cubicBezTo>
                  <a:cubicBezTo>
                    <a:pt x="109" y="7"/>
                    <a:pt x="88" y="0"/>
                    <a:pt x="70" y="0"/>
                  </a:cubicBezTo>
                  <a:cubicBezTo>
                    <a:pt x="41" y="0"/>
                    <a:pt x="28" y="21"/>
                    <a:pt x="28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C7B044FD-45A1-41D4-8002-87E2B59314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64" y="1724"/>
              <a:ext cx="246" cy="328"/>
            </a:xfrm>
            <a:custGeom>
              <a:avLst/>
              <a:gdLst>
                <a:gd name="T0" fmla="*/ 4 w 130"/>
                <a:gd name="T1" fmla="*/ 48 h 173"/>
                <a:gd name="T2" fmla="*/ 56 w 130"/>
                <a:gd name="T3" fmla="*/ 97 h 173"/>
                <a:gd name="T4" fmla="*/ 57 w 130"/>
                <a:gd name="T5" fmla="*/ 98 h 173"/>
                <a:gd name="T6" fmla="*/ 101 w 130"/>
                <a:gd name="T7" fmla="*/ 124 h 173"/>
                <a:gd name="T8" fmla="*/ 66 w 130"/>
                <a:gd name="T9" fmla="*/ 146 h 173"/>
                <a:gd name="T10" fmla="*/ 30 w 130"/>
                <a:gd name="T11" fmla="*/ 118 h 173"/>
                <a:gd name="T12" fmla="*/ 26 w 130"/>
                <a:gd name="T13" fmla="*/ 114 h 173"/>
                <a:gd name="T14" fmla="*/ 5 w 130"/>
                <a:gd name="T15" fmla="*/ 114 h 173"/>
                <a:gd name="T16" fmla="*/ 0 w 130"/>
                <a:gd name="T17" fmla="*/ 118 h 173"/>
                <a:gd name="T18" fmla="*/ 65 w 130"/>
                <a:gd name="T19" fmla="*/ 173 h 173"/>
                <a:gd name="T20" fmla="*/ 130 w 130"/>
                <a:gd name="T21" fmla="*/ 120 h 173"/>
                <a:gd name="T22" fmla="*/ 72 w 130"/>
                <a:gd name="T23" fmla="*/ 74 h 173"/>
                <a:gd name="T24" fmla="*/ 32 w 130"/>
                <a:gd name="T25" fmla="*/ 48 h 173"/>
                <a:gd name="T26" fmla="*/ 63 w 130"/>
                <a:gd name="T27" fmla="*/ 27 h 173"/>
                <a:gd name="T28" fmla="*/ 97 w 130"/>
                <a:gd name="T29" fmla="*/ 49 h 173"/>
                <a:gd name="T30" fmla="*/ 102 w 130"/>
                <a:gd name="T31" fmla="*/ 53 h 173"/>
                <a:gd name="T32" fmla="*/ 120 w 130"/>
                <a:gd name="T33" fmla="*/ 53 h 173"/>
                <a:gd name="T34" fmla="*/ 125 w 130"/>
                <a:gd name="T35" fmla="*/ 48 h 173"/>
                <a:gd name="T36" fmla="*/ 63 w 130"/>
                <a:gd name="T37" fmla="*/ 0 h 173"/>
                <a:gd name="T38" fmla="*/ 4 w 130"/>
                <a:gd name="T39" fmla="*/ 48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0" h="173">
                  <a:moveTo>
                    <a:pt x="4" y="48"/>
                  </a:moveTo>
                  <a:cubicBezTo>
                    <a:pt x="4" y="77"/>
                    <a:pt x="19" y="91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83" y="102"/>
                    <a:pt x="101" y="105"/>
                    <a:pt x="101" y="124"/>
                  </a:cubicBezTo>
                  <a:cubicBezTo>
                    <a:pt x="101" y="139"/>
                    <a:pt x="83" y="146"/>
                    <a:pt x="66" y="146"/>
                  </a:cubicBezTo>
                  <a:cubicBezTo>
                    <a:pt x="46" y="146"/>
                    <a:pt x="33" y="136"/>
                    <a:pt x="30" y="118"/>
                  </a:cubicBezTo>
                  <a:cubicBezTo>
                    <a:pt x="30" y="116"/>
                    <a:pt x="29" y="114"/>
                    <a:pt x="26" y="114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2" y="114"/>
                    <a:pt x="0" y="116"/>
                    <a:pt x="0" y="118"/>
                  </a:cubicBezTo>
                  <a:cubicBezTo>
                    <a:pt x="0" y="150"/>
                    <a:pt x="27" y="173"/>
                    <a:pt x="65" y="173"/>
                  </a:cubicBezTo>
                  <a:cubicBezTo>
                    <a:pt x="104" y="173"/>
                    <a:pt x="130" y="151"/>
                    <a:pt x="130" y="120"/>
                  </a:cubicBezTo>
                  <a:cubicBezTo>
                    <a:pt x="130" y="86"/>
                    <a:pt x="100" y="79"/>
                    <a:pt x="72" y="74"/>
                  </a:cubicBezTo>
                  <a:cubicBezTo>
                    <a:pt x="37" y="68"/>
                    <a:pt x="32" y="58"/>
                    <a:pt x="32" y="48"/>
                  </a:cubicBezTo>
                  <a:cubicBezTo>
                    <a:pt x="32" y="32"/>
                    <a:pt x="49" y="27"/>
                    <a:pt x="63" y="27"/>
                  </a:cubicBezTo>
                  <a:cubicBezTo>
                    <a:pt x="82" y="27"/>
                    <a:pt x="94" y="34"/>
                    <a:pt x="97" y="49"/>
                  </a:cubicBezTo>
                  <a:cubicBezTo>
                    <a:pt x="98" y="51"/>
                    <a:pt x="98" y="53"/>
                    <a:pt x="102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23" y="53"/>
                    <a:pt x="125" y="51"/>
                    <a:pt x="125" y="48"/>
                  </a:cubicBezTo>
                  <a:cubicBezTo>
                    <a:pt x="125" y="19"/>
                    <a:pt x="100" y="0"/>
                    <a:pt x="63" y="0"/>
                  </a:cubicBezTo>
                  <a:cubicBezTo>
                    <a:pt x="22" y="0"/>
                    <a:pt x="4" y="25"/>
                    <a:pt x="4" y="4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B96B058D-5136-4262-807A-F14DDE4EC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62" y="1722"/>
              <a:ext cx="312" cy="474"/>
            </a:xfrm>
            <a:custGeom>
              <a:avLst/>
              <a:gdLst>
                <a:gd name="T0" fmla="*/ 67 w 165"/>
                <a:gd name="T1" fmla="*/ 0 h 250"/>
                <a:gd name="T2" fmla="*/ 0 w 165"/>
                <a:gd name="T3" fmla="*/ 86 h 250"/>
                <a:gd name="T4" fmla="*/ 82 w 165"/>
                <a:gd name="T5" fmla="*/ 174 h 250"/>
                <a:gd name="T6" fmla="*/ 137 w 165"/>
                <a:gd name="T7" fmla="*/ 152 h 250"/>
                <a:gd name="T8" fmla="*/ 137 w 165"/>
                <a:gd name="T9" fmla="*/ 173 h 250"/>
                <a:gd name="T10" fmla="*/ 89 w 165"/>
                <a:gd name="T11" fmla="*/ 222 h 250"/>
                <a:gd name="T12" fmla="*/ 48 w 165"/>
                <a:gd name="T13" fmla="*/ 194 h 250"/>
                <a:gd name="T14" fmla="*/ 43 w 165"/>
                <a:gd name="T15" fmla="*/ 190 h 250"/>
                <a:gd name="T16" fmla="*/ 24 w 165"/>
                <a:gd name="T17" fmla="*/ 190 h 250"/>
                <a:gd name="T18" fmla="*/ 19 w 165"/>
                <a:gd name="T19" fmla="*/ 195 h 250"/>
                <a:gd name="T20" fmla="*/ 89 w 165"/>
                <a:gd name="T21" fmla="*/ 250 h 250"/>
                <a:gd name="T22" fmla="*/ 165 w 165"/>
                <a:gd name="T23" fmla="*/ 174 h 250"/>
                <a:gd name="T24" fmla="*/ 165 w 165"/>
                <a:gd name="T25" fmla="*/ 7 h 250"/>
                <a:gd name="T26" fmla="*/ 162 w 165"/>
                <a:gd name="T27" fmla="*/ 4 h 250"/>
                <a:gd name="T28" fmla="*/ 140 w 165"/>
                <a:gd name="T29" fmla="*/ 4 h 250"/>
                <a:gd name="T30" fmla="*/ 137 w 165"/>
                <a:gd name="T31" fmla="*/ 7 h 250"/>
                <a:gd name="T32" fmla="*/ 137 w 165"/>
                <a:gd name="T33" fmla="*/ 21 h 250"/>
                <a:gd name="T34" fmla="*/ 99 w 165"/>
                <a:gd name="T35" fmla="*/ 0 h 250"/>
                <a:gd name="T36" fmla="*/ 96 w 165"/>
                <a:gd name="T37" fmla="*/ 3 h 250"/>
                <a:gd name="T38" fmla="*/ 96 w 165"/>
                <a:gd name="T39" fmla="*/ 28 h 250"/>
                <a:gd name="T40" fmla="*/ 97 w 165"/>
                <a:gd name="T41" fmla="*/ 31 h 250"/>
                <a:gd name="T42" fmla="*/ 138 w 165"/>
                <a:gd name="T43" fmla="*/ 87 h 250"/>
                <a:gd name="T44" fmla="*/ 83 w 165"/>
                <a:gd name="T45" fmla="*/ 146 h 250"/>
                <a:gd name="T46" fmla="*/ 29 w 165"/>
                <a:gd name="T47" fmla="*/ 87 h 250"/>
                <a:gd name="T48" fmla="*/ 68 w 165"/>
                <a:gd name="T49" fmla="*/ 31 h 250"/>
                <a:gd name="T50" fmla="*/ 70 w 165"/>
                <a:gd name="T51" fmla="*/ 29 h 250"/>
                <a:gd name="T52" fmla="*/ 70 w 165"/>
                <a:gd name="T53" fmla="*/ 3 h 250"/>
                <a:gd name="T54" fmla="*/ 67 w 165"/>
                <a:gd name="T55" fmla="*/ 0 h 250"/>
                <a:gd name="T56" fmla="*/ 67 w 165"/>
                <a:gd name="T57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5" h="250">
                  <a:moveTo>
                    <a:pt x="67" y="0"/>
                  </a:moveTo>
                  <a:cubicBezTo>
                    <a:pt x="29" y="8"/>
                    <a:pt x="0" y="44"/>
                    <a:pt x="0" y="86"/>
                  </a:cubicBezTo>
                  <a:cubicBezTo>
                    <a:pt x="0" y="135"/>
                    <a:pt x="37" y="174"/>
                    <a:pt x="82" y="174"/>
                  </a:cubicBezTo>
                  <a:cubicBezTo>
                    <a:pt x="103" y="174"/>
                    <a:pt x="122" y="166"/>
                    <a:pt x="137" y="152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7" y="205"/>
                    <a:pt x="120" y="222"/>
                    <a:pt x="89" y="222"/>
                  </a:cubicBezTo>
                  <a:cubicBezTo>
                    <a:pt x="66" y="222"/>
                    <a:pt x="52" y="213"/>
                    <a:pt x="48" y="194"/>
                  </a:cubicBezTo>
                  <a:cubicBezTo>
                    <a:pt x="47" y="192"/>
                    <a:pt x="46" y="190"/>
                    <a:pt x="43" y="190"/>
                  </a:cubicBezTo>
                  <a:cubicBezTo>
                    <a:pt x="24" y="190"/>
                    <a:pt x="24" y="190"/>
                    <a:pt x="24" y="190"/>
                  </a:cubicBezTo>
                  <a:cubicBezTo>
                    <a:pt x="21" y="190"/>
                    <a:pt x="19" y="192"/>
                    <a:pt x="19" y="195"/>
                  </a:cubicBezTo>
                  <a:cubicBezTo>
                    <a:pt x="22" y="228"/>
                    <a:pt x="51" y="250"/>
                    <a:pt x="89" y="250"/>
                  </a:cubicBezTo>
                  <a:cubicBezTo>
                    <a:pt x="135" y="250"/>
                    <a:pt x="165" y="219"/>
                    <a:pt x="165" y="174"/>
                  </a:cubicBezTo>
                  <a:cubicBezTo>
                    <a:pt x="165" y="7"/>
                    <a:pt x="165" y="7"/>
                    <a:pt x="165" y="7"/>
                  </a:cubicBezTo>
                  <a:cubicBezTo>
                    <a:pt x="165" y="5"/>
                    <a:pt x="164" y="4"/>
                    <a:pt x="162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38" y="4"/>
                    <a:pt x="137" y="5"/>
                    <a:pt x="137" y="7"/>
                  </a:cubicBezTo>
                  <a:cubicBezTo>
                    <a:pt x="137" y="21"/>
                    <a:pt x="137" y="21"/>
                    <a:pt x="137" y="21"/>
                  </a:cubicBezTo>
                  <a:cubicBezTo>
                    <a:pt x="126" y="11"/>
                    <a:pt x="113" y="4"/>
                    <a:pt x="99" y="0"/>
                  </a:cubicBezTo>
                  <a:cubicBezTo>
                    <a:pt x="97" y="0"/>
                    <a:pt x="96" y="1"/>
                    <a:pt x="96" y="3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9"/>
                    <a:pt x="96" y="30"/>
                    <a:pt x="97" y="31"/>
                  </a:cubicBezTo>
                  <a:cubicBezTo>
                    <a:pt x="121" y="37"/>
                    <a:pt x="138" y="60"/>
                    <a:pt x="138" y="87"/>
                  </a:cubicBezTo>
                  <a:cubicBezTo>
                    <a:pt x="138" y="119"/>
                    <a:pt x="114" y="146"/>
                    <a:pt x="83" y="146"/>
                  </a:cubicBezTo>
                  <a:cubicBezTo>
                    <a:pt x="53" y="146"/>
                    <a:pt x="29" y="119"/>
                    <a:pt x="29" y="87"/>
                  </a:cubicBezTo>
                  <a:cubicBezTo>
                    <a:pt x="29" y="61"/>
                    <a:pt x="45" y="38"/>
                    <a:pt x="68" y="31"/>
                  </a:cubicBezTo>
                  <a:cubicBezTo>
                    <a:pt x="69" y="31"/>
                    <a:pt x="70" y="30"/>
                    <a:pt x="70" y="29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"/>
                    <a:pt x="69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8" name="Oval 11">
              <a:extLst>
                <a:ext uri="{FF2B5EF4-FFF2-40B4-BE49-F238E27FC236}">
                  <a16:creationId xmlns:a16="http://schemas.microsoft.com/office/drawing/2014/main" id="{67E362B8-97A1-4111-B148-BAE052A1BF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29" name="Oval 12">
              <a:extLst>
                <a:ext uri="{FF2B5EF4-FFF2-40B4-BE49-F238E27FC236}">
                  <a16:creationId xmlns:a16="http://schemas.microsoft.com/office/drawing/2014/main" id="{4301693B-28CB-4C5D-8F2B-69A579B76B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3" y="1589"/>
              <a:ext cx="87" cy="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30" name="Freeform 13">
              <a:extLst>
                <a:ext uri="{FF2B5EF4-FFF2-40B4-BE49-F238E27FC236}">
                  <a16:creationId xmlns:a16="http://schemas.microsoft.com/office/drawing/2014/main" id="{52D918BE-ADC1-4568-88E2-AF8C3F391F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62" y="1584"/>
              <a:ext cx="242" cy="462"/>
            </a:xfrm>
            <a:custGeom>
              <a:avLst/>
              <a:gdLst>
                <a:gd name="T0" fmla="*/ 39 w 128"/>
                <a:gd name="T1" fmla="*/ 55 h 244"/>
                <a:gd name="T2" fmla="*/ 39 w 128"/>
                <a:gd name="T3" fmla="*/ 76 h 244"/>
                <a:gd name="T4" fmla="*/ 4 w 128"/>
                <a:gd name="T5" fmla="*/ 76 h 244"/>
                <a:gd name="T6" fmla="*/ 0 w 128"/>
                <a:gd name="T7" fmla="*/ 81 h 244"/>
                <a:gd name="T8" fmla="*/ 0 w 128"/>
                <a:gd name="T9" fmla="*/ 99 h 244"/>
                <a:gd name="T10" fmla="*/ 4 w 128"/>
                <a:gd name="T11" fmla="*/ 103 h 244"/>
                <a:gd name="T12" fmla="*/ 39 w 128"/>
                <a:gd name="T13" fmla="*/ 103 h 244"/>
                <a:gd name="T14" fmla="*/ 39 w 128"/>
                <a:gd name="T15" fmla="*/ 239 h 244"/>
                <a:gd name="T16" fmla="*/ 44 w 128"/>
                <a:gd name="T17" fmla="*/ 244 h 244"/>
                <a:gd name="T18" fmla="*/ 62 w 128"/>
                <a:gd name="T19" fmla="*/ 244 h 244"/>
                <a:gd name="T20" fmla="*/ 67 w 128"/>
                <a:gd name="T21" fmla="*/ 239 h 244"/>
                <a:gd name="T22" fmla="*/ 67 w 128"/>
                <a:gd name="T23" fmla="*/ 103 h 244"/>
                <a:gd name="T24" fmla="*/ 120 w 128"/>
                <a:gd name="T25" fmla="*/ 103 h 244"/>
                <a:gd name="T26" fmla="*/ 125 w 128"/>
                <a:gd name="T27" fmla="*/ 99 h 244"/>
                <a:gd name="T28" fmla="*/ 125 w 128"/>
                <a:gd name="T29" fmla="*/ 81 h 244"/>
                <a:gd name="T30" fmla="*/ 120 w 128"/>
                <a:gd name="T31" fmla="*/ 76 h 244"/>
                <a:gd name="T32" fmla="*/ 67 w 128"/>
                <a:gd name="T33" fmla="*/ 76 h 244"/>
                <a:gd name="T34" fmla="*/ 67 w 128"/>
                <a:gd name="T35" fmla="*/ 55 h 244"/>
                <a:gd name="T36" fmla="*/ 91 w 128"/>
                <a:gd name="T37" fmla="*/ 27 h 244"/>
                <a:gd name="T38" fmla="*/ 122 w 128"/>
                <a:gd name="T39" fmla="*/ 37 h 244"/>
                <a:gd name="T40" fmla="*/ 125 w 128"/>
                <a:gd name="T41" fmla="*/ 38 h 244"/>
                <a:gd name="T42" fmla="*/ 128 w 128"/>
                <a:gd name="T43" fmla="*/ 33 h 244"/>
                <a:gd name="T44" fmla="*/ 128 w 128"/>
                <a:gd name="T45" fmla="*/ 16 h 244"/>
                <a:gd name="T46" fmla="*/ 125 w 128"/>
                <a:gd name="T47" fmla="*/ 9 h 244"/>
                <a:gd name="T48" fmla="*/ 89 w 128"/>
                <a:gd name="T49" fmla="*/ 0 h 244"/>
                <a:gd name="T50" fmla="*/ 39 w 128"/>
                <a:gd name="T51" fmla="*/ 55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" h="244">
                  <a:moveTo>
                    <a:pt x="39" y="55"/>
                  </a:moveTo>
                  <a:cubicBezTo>
                    <a:pt x="39" y="76"/>
                    <a:pt x="39" y="76"/>
                    <a:pt x="39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1" y="76"/>
                    <a:pt x="0" y="78"/>
                    <a:pt x="0" y="81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1" y="103"/>
                    <a:pt x="4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242"/>
                    <a:pt x="41" y="244"/>
                    <a:pt x="44" y="244"/>
                  </a:cubicBezTo>
                  <a:cubicBezTo>
                    <a:pt x="62" y="244"/>
                    <a:pt x="62" y="244"/>
                    <a:pt x="62" y="244"/>
                  </a:cubicBezTo>
                  <a:cubicBezTo>
                    <a:pt x="65" y="244"/>
                    <a:pt x="67" y="242"/>
                    <a:pt x="67" y="239"/>
                  </a:cubicBezTo>
                  <a:cubicBezTo>
                    <a:pt x="67" y="103"/>
                    <a:pt x="67" y="103"/>
                    <a:pt x="67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23" y="103"/>
                    <a:pt x="125" y="102"/>
                    <a:pt x="125" y="99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5" y="78"/>
                    <a:pt x="123" y="76"/>
                    <a:pt x="120" y="76"/>
                  </a:cubicBezTo>
                  <a:cubicBezTo>
                    <a:pt x="67" y="76"/>
                    <a:pt x="67" y="76"/>
                    <a:pt x="67" y="7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38"/>
                    <a:pt x="76" y="27"/>
                    <a:pt x="91" y="27"/>
                  </a:cubicBezTo>
                  <a:cubicBezTo>
                    <a:pt x="102" y="27"/>
                    <a:pt x="110" y="30"/>
                    <a:pt x="122" y="37"/>
                  </a:cubicBezTo>
                  <a:cubicBezTo>
                    <a:pt x="123" y="38"/>
                    <a:pt x="124" y="38"/>
                    <a:pt x="125" y="38"/>
                  </a:cubicBezTo>
                  <a:cubicBezTo>
                    <a:pt x="127" y="38"/>
                    <a:pt x="128" y="36"/>
                    <a:pt x="128" y="33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8" y="13"/>
                    <a:pt x="128" y="11"/>
                    <a:pt x="125" y="9"/>
                  </a:cubicBezTo>
                  <a:cubicBezTo>
                    <a:pt x="114" y="3"/>
                    <a:pt x="103" y="0"/>
                    <a:pt x="89" y="0"/>
                  </a:cubicBezTo>
                  <a:cubicBezTo>
                    <a:pt x="54" y="0"/>
                    <a:pt x="39" y="29"/>
                    <a:pt x="39" y="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  <p:sp>
          <p:nvSpPr>
            <p:cNvPr id="31" name="Freeform 14">
              <a:extLst>
                <a:ext uri="{FF2B5EF4-FFF2-40B4-BE49-F238E27FC236}">
                  <a16:creationId xmlns:a16="http://schemas.microsoft.com/office/drawing/2014/main" id="{C865BE1B-431D-42EE-838F-6181568C2D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71" y="1578"/>
              <a:ext cx="632" cy="631"/>
            </a:xfrm>
            <a:custGeom>
              <a:avLst/>
              <a:gdLst>
                <a:gd name="T0" fmla="*/ 181 w 334"/>
                <a:gd name="T1" fmla="*/ 1 h 333"/>
                <a:gd name="T2" fmla="*/ 180 w 334"/>
                <a:gd name="T3" fmla="*/ 4 h 333"/>
                <a:gd name="T4" fmla="*/ 180 w 334"/>
                <a:gd name="T5" fmla="*/ 26 h 333"/>
                <a:gd name="T6" fmla="*/ 180 w 334"/>
                <a:gd name="T7" fmla="*/ 26 h 333"/>
                <a:gd name="T8" fmla="*/ 182 w 334"/>
                <a:gd name="T9" fmla="*/ 28 h 333"/>
                <a:gd name="T10" fmla="*/ 306 w 334"/>
                <a:gd name="T11" fmla="*/ 166 h 333"/>
                <a:gd name="T12" fmla="*/ 167 w 334"/>
                <a:gd name="T13" fmla="*/ 305 h 333"/>
                <a:gd name="T14" fmla="*/ 28 w 334"/>
                <a:gd name="T15" fmla="*/ 166 h 333"/>
                <a:gd name="T16" fmla="*/ 152 w 334"/>
                <a:gd name="T17" fmla="*/ 28 h 333"/>
                <a:gd name="T18" fmla="*/ 154 w 334"/>
                <a:gd name="T19" fmla="*/ 26 h 333"/>
                <a:gd name="T20" fmla="*/ 154 w 334"/>
                <a:gd name="T21" fmla="*/ 26 h 333"/>
                <a:gd name="T22" fmla="*/ 154 w 334"/>
                <a:gd name="T23" fmla="*/ 4 h 333"/>
                <a:gd name="T24" fmla="*/ 153 w 334"/>
                <a:gd name="T25" fmla="*/ 1 h 333"/>
                <a:gd name="T26" fmla="*/ 150 w 334"/>
                <a:gd name="T27" fmla="*/ 0 h 333"/>
                <a:gd name="T28" fmla="*/ 149 w 334"/>
                <a:gd name="T29" fmla="*/ 0 h 333"/>
                <a:gd name="T30" fmla="*/ 149 w 334"/>
                <a:gd name="T31" fmla="*/ 0 h 333"/>
                <a:gd name="T32" fmla="*/ 0 w 334"/>
                <a:gd name="T33" fmla="*/ 166 h 333"/>
                <a:gd name="T34" fmla="*/ 167 w 334"/>
                <a:gd name="T35" fmla="*/ 333 h 333"/>
                <a:gd name="T36" fmla="*/ 334 w 334"/>
                <a:gd name="T37" fmla="*/ 166 h 333"/>
                <a:gd name="T38" fmla="*/ 185 w 334"/>
                <a:gd name="T39" fmla="*/ 0 h 333"/>
                <a:gd name="T40" fmla="*/ 185 w 334"/>
                <a:gd name="T41" fmla="*/ 0 h 333"/>
                <a:gd name="T42" fmla="*/ 184 w 334"/>
                <a:gd name="T43" fmla="*/ 0 h 333"/>
                <a:gd name="T44" fmla="*/ 181 w 334"/>
                <a:gd name="T45" fmla="*/ 1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4" h="333">
                  <a:moveTo>
                    <a:pt x="181" y="1"/>
                  </a:moveTo>
                  <a:cubicBezTo>
                    <a:pt x="180" y="2"/>
                    <a:pt x="180" y="3"/>
                    <a:pt x="180" y="4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6"/>
                    <a:pt x="180" y="26"/>
                    <a:pt x="180" y="26"/>
                  </a:cubicBezTo>
                  <a:cubicBezTo>
                    <a:pt x="180" y="27"/>
                    <a:pt x="181" y="28"/>
                    <a:pt x="182" y="28"/>
                  </a:cubicBezTo>
                  <a:cubicBezTo>
                    <a:pt x="251" y="35"/>
                    <a:pt x="306" y="94"/>
                    <a:pt x="306" y="166"/>
                  </a:cubicBezTo>
                  <a:cubicBezTo>
                    <a:pt x="306" y="243"/>
                    <a:pt x="244" y="305"/>
                    <a:pt x="167" y="305"/>
                  </a:cubicBezTo>
                  <a:cubicBezTo>
                    <a:pt x="90" y="305"/>
                    <a:pt x="28" y="243"/>
                    <a:pt x="28" y="166"/>
                  </a:cubicBezTo>
                  <a:cubicBezTo>
                    <a:pt x="28" y="94"/>
                    <a:pt x="82" y="35"/>
                    <a:pt x="152" y="28"/>
                  </a:cubicBezTo>
                  <a:cubicBezTo>
                    <a:pt x="153" y="28"/>
                    <a:pt x="154" y="27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4"/>
                    <a:pt x="154" y="4"/>
                    <a:pt x="154" y="4"/>
                  </a:cubicBezTo>
                  <a:cubicBezTo>
                    <a:pt x="154" y="3"/>
                    <a:pt x="154" y="2"/>
                    <a:pt x="153" y="1"/>
                  </a:cubicBezTo>
                  <a:cubicBezTo>
                    <a:pt x="152" y="0"/>
                    <a:pt x="151" y="0"/>
                    <a:pt x="15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65" y="9"/>
                    <a:pt x="0" y="80"/>
                    <a:pt x="0" y="166"/>
                  </a:cubicBezTo>
                  <a:cubicBezTo>
                    <a:pt x="0" y="258"/>
                    <a:pt x="75" y="333"/>
                    <a:pt x="167" y="333"/>
                  </a:cubicBezTo>
                  <a:cubicBezTo>
                    <a:pt x="259" y="333"/>
                    <a:pt x="334" y="258"/>
                    <a:pt x="334" y="166"/>
                  </a:cubicBezTo>
                  <a:cubicBezTo>
                    <a:pt x="334" y="80"/>
                    <a:pt x="269" y="9"/>
                    <a:pt x="18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5" y="0"/>
                    <a:pt x="184" y="0"/>
                    <a:pt x="184" y="0"/>
                  </a:cubicBezTo>
                  <a:cubicBezTo>
                    <a:pt x="183" y="0"/>
                    <a:pt x="182" y="0"/>
                    <a:pt x="18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42" noProof="0"/>
            </a:p>
          </p:txBody>
        </p:sp>
      </p:grpSp>
    </p:spTree>
    <p:extLst>
      <p:ext uri="{BB962C8B-B14F-4D97-AF65-F5344CB8AC3E}">
        <p14:creationId xmlns:p14="http://schemas.microsoft.com/office/powerpoint/2010/main" val="3396913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2" r:id="rId2"/>
    <p:sldLayoutId id="2147483683" r:id="rId3"/>
    <p:sldLayoutId id="2147483663" r:id="rId4"/>
    <p:sldLayoutId id="2147483672" r:id="rId5"/>
    <p:sldLayoutId id="2147483684" r:id="rId6"/>
    <p:sldLayoutId id="2147483680" r:id="rId7"/>
    <p:sldLayoutId id="2147483662" r:id="rId8"/>
    <p:sldLayoutId id="2147483681" r:id="rId9"/>
    <p:sldLayoutId id="2147483664" r:id="rId10"/>
    <p:sldLayoutId id="2147483673" r:id="rId11"/>
    <p:sldLayoutId id="2147483674" r:id="rId12"/>
    <p:sldLayoutId id="2147483675" r:id="rId13"/>
    <p:sldLayoutId id="2147483686" r:id="rId14"/>
    <p:sldLayoutId id="2147483676" r:id="rId15"/>
    <p:sldLayoutId id="2147483677" r:id="rId16"/>
    <p:sldLayoutId id="2147483678" r:id="rId17"/>
    <p:sldLayoutId id="2147483685" r:id="rId18"/>
    <p:sldLayoutId id="2147483679" r:id="rId19"/>
    <p:sldLayoutId id="2147483666" r:id="rId20"/>
    <p:sldLayoutId id="2147483667" r:id="rId21"/>
    <p:sldLayoutId id="2147483759" r:id="rId22"/>
  </p:sldLayoutIdLst>
  <p:transition>
    <p:fade/>
  </p:transition>
  <p:hf hdr="0" dt="0"/>
  <p:txStyles>
    <p:titleStyle>
      <a:lvl1pPr algn="l" defTabSz="1042512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027"/>
        </a:spcAft>
        <a:buFont typeface="Arial" panose="020B0604020202020204" pitchFamily="34" charset="0"/>
        <a:buNone/>
        <a:defRPr sz="1597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027"/>
        </a:spcAft>
        <a:buFont typeface="Arial" panose="020B0604020202020204" pitchFamily="34" charset="0"/>
        <a:buNone/>
        <a:defRPr sz="1597" b="0" kern="1200">
          <a:solidFill>
            <a:schemeClr val="tx2"/>
          </a:solidFill>
          <a:latin typeface="Signify Relative Bold" panose="02000806030000020004" pitchFamily="50" charset="0"/>
          <a:ea typeface="+mn-ea"/>
          <a:cs typeface="+mn-cs"/>
        </a:defRPr>
      </a:lvl2pPr>
      <a:lvl3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027"/>
        </a:spcAft>
        <a:buFont typeface="Arial" panose="020B0604020202020204" pitchFamily="34" charset="0"/>
        <a:buNone/>
        <a:defRPr sz="1597" kern="1200">
          <a:solidFill>
            <a:schemeClr val="accent5"/>
          </a:solidFill>
          <a:latin typeface="+mn-lt"/>
          <a:ea typeface="+mn-ea"/>
          <a:cs typeface="+mn-cs"/>
        </a:defRPr>
      </a:lvl3pPr>
      <a:lvl4pPr marL="290427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80854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71281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161708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452133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742562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1pPr>
      <a:lvl2pPr marL="521258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2pPr>
      <a:lvl3pPr marL="1042512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3pPr>
      <a:lvl4pPr marL="156377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4pPr>
      <a:lvl5pPr marL="2085031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5pPr>
      <a:lvl6pPr marL="2606285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6pPr>
      <a:lvl7pPr marL="312754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7pPr>
      <a:lvl8pPr marL="364880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8pPr>
      <a:lvl9pPr marL="4170060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1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95" userDrawn="1">
          <p15:clr>
            <a:srgbClr val="F26B43"/>
          </p15:clr>
        </p15:guide>
        <p15:guide id="4" pos="5565" userDrawn="1">
          <p15:clr>
            <a:srgbClr val="F26B43"/>
          </p15:clr>
        </p15:guide>
        <p15:guide id="5" orient="horz" pos="259" userDrawn="1">
          <p15:clr>
            <a:srgbClr val="F26B43"/>
          </p15:clr>
        </p15:guide>
        <p15:guide id="6" orient="horz" pos="958" userDrawn="1">
          <p15:clr>
            <a:srgbClr val="F26B43"/>
          </p15:clr>
        </p15:guide>
        <p15:guide id="7" orient="horz" pos="3989" userDrawn="1">
          <p15:clr>
            <a:srgbClr val="F26B43"/>
          </p15:clr>
        </p15:guide>
        <p15:guide id="8" orient="horz" pos="379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8160" y="410669"/>
            <a:ext cx="8526014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8160" y="1521182"/>
            <a:ext cx="8526014" cy="449473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682" y="6332830"/>
            <a:ext cx="896150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0276" y="6332830"/>
            <a:ext cx="3831778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r>
              <a:rPr lang="en-GB"/>
              <a:t>Footer (Insert &gt; Header &amp; Footer to edit) -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8162" y="6332830"/>
            <a:ext cx="380447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accent5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932C11A5-A03B-4075-B595-9FA95A8BD6D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22438" y="6336000"/>
            <a:ext cx="612000" cy="106642"/>
          </a:xfrm>
          <a:custGeom>
            <a:avLst/>
            <a:gdLst>
              <a:gd name="T0" fmla="*/ 2108 w 2301"/>
              <a:gd name="T1" fmla="*/ 43 h 400"/>
              <a:gd name="T2" fmla="*/ 2257 w 2301"/>
              <a:gd name="T3" fmla="*/ 121 h 400"/>
              <a:gd name="T4" fmla="*/ 2154 w 2301"/>
              <a:gd name="T5" fmla="*/ 289 h 400"/>
              <a:gd name="T6" fmla="*/ 2261 w 2301"/>
              <a:gd name="T7" fmla="*/ 295 h 400"/>
              <a:gd name="T8" fmla="*/ 2301 w 2301"/>
              <a:gd name="T9" fmla="*/ 300 h 400"/>
              <a:gd name="T10" fmla="*/ 2108 w 2301"/>
              <a:gd name="T11" fmla="*/ 167 h 400"/>
              <a:gd name="T12" fmla="*/ 548 w 2301"/>
              <a:gd name="T13" fmla="*/ 121 h 400"/>
              <a:gd name="T14" fmla="*/ 643 w 2301"/>
              <a:gd name="T15" fmla="*/ 43 h 400"/>
              <a:gd name="T16" fmla="*/ 746 w 2301"/>
              <a:gd name="T17" fmla="*/ 167 h 400"/>
              <a:gd name="T18" fmla="*/ 729 w 2301"/>
              <a:gd name="T19" fmla="*/ 342 h 400"/>
              <a:gd name="T20" fmla="*/ 789 w 2301"/>
              <a:gd name="T21" fmla="*/ 296 h 400"/>
              <a:gd name="T22" fmla="*/ 622 w 2301"/>
              <a:gd name="T23" fmla="*/ 371 h 400"/>
              <a:gd name="T24" fmla="*/ 1997 w 2301"/>
              <a:gd name="T25" fmla="*/ 297 h 400"/>
              <a:gd name="T26" fmla="*/ 1822 w 2301"/>
              <a:gd name="T27" fmla="*/ 327 h 400"/>
              <a:gd name="T28" fmla="*/ 1954 w 2301"/>
              <a:gd name="T29" fmla="*/ 213 h 400"/>
              <a:gd name="T30" fmla="*/ 1962 w 2301"/>
              <a:gd name="T31" fmla="*/ 141 h 400"/>
              <a:gd name="T32" fmla="*/ 1885 w 2301"/>
              <a:gd name="T33" fmla="*/ 400 h 400"/>
              <a:gd name="T34" fmla="*/ 0 w 2301"/>
              <a:gd name="T35" fmla="*/ 389 h 400"/>
              <a:gd name="T36" fmla="*/ 19 w 2301"/>
              <a:gd name="T37" fmla="*/ 167 h 400"/>
              <a:gd name="T38" fmla="*/ 125 w 2301"/>
              <a:gd name="T39" fmla="*/ 126 h 400"/>
              <a:gd name="T40" fmla="*/ 206 w 2301"/>
              <a:gd name="T41" fmla="*/ 395 h 400"/>
              <a:gd name="T42" fmla="*/ 381 w 2301"/>
              <a:gd name="T43" fmla="*/ 116 h 400"/>
              <a:gd name="T44" fmla="*/ 266 w 2301"/>
              <a:gd name="T45" fmla="*/ 126 h 400"/>
              <a:gd name="T46" fmla="*/ 272 w 2301"/>
              <a:gd name="T47" fmla="*/ 395 h 400"/>
              <a:gd name="T48" fmla="*/ 312 w 2301"/>
              <a:gd name="T49" fmla="*/ 250 h 400"/>
              <a:gd name="T50" fmla="*/ 313 w 2301"/>
              <a:gd name="T51" fmla="*/ 228 h 400"/>
              <a:gd name="T52" fmla="*/ 313 w 2301"/>
              <a:gd name="T53" fmla="*/ 215 h 400"/>
              <a:gd name="T54" fmla="*/ 316 w 2301"/>
              <a:gd name="T55" fmla="*/ 206 h 400"/>
              <a:gd name="T56" fmla="*/ 319 w 2301"/>
              <a:gd name="T57" fmla="*/ 197 h 400"/>
              <a:gd name="T58" fmla="*/ 327 w 2301"/>
              <a:gd name="T59" fmla="*/ 186 h 400"/>
              <a:gd name="T60" fmla="*/ 447 w 2301"/>
              <a:gd name="T61" fmla="*/ 389 h 400"/>
              <a:gd name="T62" fmla="*/ 493 w 2301"/>
              <a:gd name="T63" fmla="*/ 228 h 400"/>
              <a:gd name="T64" fmla="*/ 142 w 2301"/>
              <a:gd name="T65" fmla="*/ 38 h 400"/>
              <a:gd name="T66" fmla="*/ 1292 w 2301"/>
              <a:gd name="T67" fmla="*/ 116 h 400"/>
              <a:gd name="T68" fmla="*/ 1177 w 2301"/>
              <a:gd name="T69" fmla="*/ 126 h 400"/>
              <a:gd name="T70" fmla="*/ 1183 w 2301"/>
              <a:gd name="T71" fmla="*/ 395 h 400"/>
              <a:gd name="T72" fmla="*/ 1223 w 2301"/>
              <a:gd name="T73" fmla="*/ 250 h 400"/>
              <a:gd name="T74" fmla="*/ 1224 w 2301"/>
              <a:gd name="T75" fmla="*/ 228 h 400"/>
              <a:gd name="T76" fmla="*/ 1224 w 2301"/>
              <a:gd name="T77" fmla="*/ 215 h 400"/>
              <a:gd name="T78" fmla="*/ 1227 w 2301"/>
              <a:gd name="T79" fmla="*/ 206 h 400"/>
              <a:gd name="T80" fmla="*/ 1230 w 2301"/>
              <a:gd name="T81" fmla="*/ 197 h 400"/>
              <a:gd name="T82" fmla="*/ 1238 w 2301"/>
              <a:gd name="T83" fmla="*/ 186 h 400"/>
              <a:gd name="T84" fmla="*/ 1386 w 2301"/>
              <a:gd name="T85" fmla="*/ 179 h 400"/>
              <a:gd name="T86" fmla="*/ 1002 w 2301"/>
              <a:gd name="T87" fmla="*/ 126 h 400"/>
              <a:gd name="T88" fmla="*/ 956 w 2301"/>
              <a:gd name="T89" fmla="*/ 170 h 400"/>
              <a:gd name="T90" fmla="*/ 981 w 2301"/>
              <a:gd name="T91" fmla="*/ 400 h 400"/>
              <a:gd name="T92" fmla="*/ 981 w 2301"/>
              <a:gd name="T93" fmla="*/ 354 h 400"/>
              <a:gd name="T94" fmla="*/ 1692 w 2301"/>
              <a:gd name="T95" fmla="*/ 232 h 400"/>
              <a:gd name="T96" fmla="*/ 1646 w 2301"/>
              <a:gd name="T97" fmla="*/ 149 h 400"/>
              <a:gd name="T98" fmla="*/ 1648 w 2301"/>
              <a:gd name="T99" fmla="*/ 258 h 400"/>
              <a:gd name="T100" fmla="*/ 1536 w 2301"/>
              <a:gd name="T101" fmla="*/ 120 h 400"/>
              <a:gd name="T102" fmla="*/ 1646 w 2301"/>
              <a:gd name="T103" fmla="*/ 390 h 400"/>
              <a:gd name="T104" fmla="*/ 1692 w 2301"/>
              <a:gd name="T105" fmla="*/ 24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01" h="400">
                <a:moveTo>
                  <a:pt x="2054" y="162"/>
                </a:moveTo>
                <a:cubicBezTo>
                  <a:pt x="2054" y="126"/>
                  <a:pt x="2054" y="126"/>
                  <a:pt x="2054" y="126"/>
                </a:cubicBezTo>
                <a:cubicBezTo>
                  <a:pt x="2054" y="122"/>
                  <a:pt x="2055" y="121"/>
                  <a:pt x="2059" y="121"/>
                </a:cubicBezTo>
                <a:cubicBezTo>
                  <a:pt x="2108" y="121"/>
                  <a:pt x="2108" y="121"/>
                  <a:pt x="2108" y="121"/>
                </a:cubicBezTo>
                <a:cubicBezTo>
                  <a:pt x="2108" y="43"/>
                  <a:pt x="2108" y="43"/>
                  <a:pt x="2108" y="43"/>
                </a:cubicBezTo>
                <a:cubicBezTo>
                  <a:pt x="2108" y="39"/>
                  <a:pt x="2110" y="38"/>
                  <a:pt x="2113" y="38"/>
                </a:cubicBezTo>
                <a:cubicBezTo>
                  <a:pt x="2149" y="38"/>
                  <a:pt x="2149" y="38"/>
                  <a:pt x="2149" y="38"/>
                </a:cubicBezTo>
                <a:cubicBezTo>
                  <a:pt x="2152" y="38"/>
                  <a:pt x="2154" y="39"/>
                  <a:pt x="2154" y="43"/>
                </a:cubicBezTo>
                <a:cubicBezTo>
                  <a:pt x="2154" y="121"/>
                  <a:pt x="2154" y="121"/>
                  <a:pt x="2154" y="121"/>
                </a:cubicBezTo>
                <a:cubicBezTo>
                  <a:pt x="2257" y="121"/>
                  <a:pt x="2257" y="121"/>
                  <a:pt x="2257" y="121"/>
                </a:cubicBezTo>
                <a:cubicBezTo>
                  <a:pt x="2260" y="121"/>
                  <a:pt x="2262" y="122"/>
                  <a:pt x="2262" y="126"/>
                </a:cubicBezTo>
                <a:cubicBezTo>
                  <a:pt x="2262" y="162"/>
                  <a:pt x="2262" y="162"/>
                  <a:pt x="2262" y="162"/>
                </a:cubicBezTo>
                <a:cubicBezTo>
                  <a:pt x="2262" y="165"/>
                  <a:pt x="2260" y="167"/>
                  <a:pt x="2257" y="167"/>
                </a:cubicBezTo>
                <a:cubicBezTo>
                  <a:pt x="2154" y="167"/>
                  <a:pt x="2154" y="167"/>
                  <a:pt x="2154" y="167"/>
                </a:cubicBezTo>
                <a:cubicBezTo>
                  <a:pt x="2154" y="289"/>
                  <a:pt x="2154" y="289"/>
                  <a:pt x="2154" y="289"/>
                </a:cubicBezTo>
                <a:cubicBezTo>
                  <a:pt x="2154" y="311"/>
                  <a:pt x="2158" y="326"/>
                  <a:pt x="2166" y="336"/>
                </a:cubicBezTo>
                <a:cubicBezTo>
                  <a:pt x="2174" y="348"/>
                  <a:pt x="2186" y="353"/>
                  <a:pt x="2204" y="353"/>
                </a:cubicBezTo>
                <a:cubicBezTo>
                  <a:pt x="2221" y="353"/>
                  <a:pt x="2232" y="351"/>
                  <a:pt x="2240" y="342"/>
                </a:cubicBezTo>
                <a:cubicBezTo>
                  <a:pt x="2248" y="333"/>
                  <a:pt x="2252" y="319"/>
                  <a:pt x="2255" y="300"/>
                </a:cubicBezTo>
                <a:cubicBezTo>
                  <a:pt x="2255" y="297"/>
                  <a:pt x="2257" y="295"/>
                  <a:pt x="2261" y="295"/>
                </a:cubicBezTo>
                <a:cubicBezTo>
                  <a:pt x="2296" y="295"/>
                  <a:pt x="2296" y="295"/>
                  <a:pt x="2296" y="295"/>
                </a:cubicBezTo>
                <a:cubicBezTo>
                  <a:pt x="2298" y="295"/>
                  <a:pt x="2298" y="295"/>
                  <a:pt x="2298" y="295"/>
                </a:cubicBezTo>
                <a:cubicBezTo>
                  <a:pt x="2298" y="295"/>
                  <a:pt x="2299" y="295"/>
                  <a:pt x="2300" y="296"/>
                </a:cubicBezTo>
                <a:cubicBezTo>
                  <a:pt x="2300" y="296"/>
                  <a:pt x="2301" y="297"/>
                  <a:pt x="2301" y="297"/>
                </a:cubicBezTo>
                <a:cubicBezTo>
                  <a:pt x="2301" y="298"/>
                  <a:pt x="2301" y="299"/>
                  <a:pt x="2301" y="300"/>
                </a:cubicBezTo>
                <a:cubicBezTo>
                  <a:pt x="2301" y="327"/>
                  <a:pt x="2295" y="350"/>
                  <a:pt x="2276" y="371"/>
                </a:cubicBezTo>
                <a:cubicBezTo>
                  <a:pt x="2259" y="390"/>
                  <a:pt x="2235" y="400"/>
                  <a:pt x="2205" y="400"/>
                </a:cubicBezTo>
                <a:cubicBezTo>
                  <a:pt x="2173" y="400"/>
                  <a:pt x="2149" y="390"/>
                  <a:pt x="2133" y="371"/>
                </a:cubicBezTo>
                <a:cubicBezTo>
                  <a:pt x="2116" y="353"/>
                  <a:pt x="2108" y="325"/>
                  <a:pt x="2108" y="289"/>
                </a:cubicBezTo>
                <a:cubicBezTo>
                  <a:pt x="2108" y="167"/>
                  <a:pt x="2108" y="167"/>
                  <a:pt x="2108" y="167"/>
                </a:cubicBezTo>
                <a:cubicBezTo>
                  <a:pt x="2059" y="167"/>
                  <a:pt x="2059" y="167"/>
                  <a:pt x="2059" y="167"/>
                </a:cubicBezTo>
                <a:cubicBezTo>
                  <a:pt x="2055" y="167"/>
                  <a:pt x="2054" y="165"/>
                  <a:pt x="2054" y="162"/>
                </a:cubicBezTo>
                <a:moveTo>
                  <a:pt x="543" y="162"/>
                </a:moveTo>
                <a:cubicBezTo>
                  <a:pt x="543" y="126"/>
                  <a:pt x="543" y="126"/>
                  <a:pt x="543" y="126"/>
                </a:cubicBezTo>
                <a:cubicBezTo>
                  <a:pt x="543" y="122"/>
                  <a:pt x="545" y="121"/>
                  <a:pt x="548" y="121"/>
                </a:cubicBezTo>
                <a:cubicBezTo>
                  <a:pt x="597" y="121"/>
                  <a:pt x="597" y="121"/>
                  <a:pt x="597" y="121"/>
                </a:cubicBezTo>
                <a:cubicBezTo>
                  <a:pt x="597" y="43"/>
                  <a:pt x="597" y="43"/>
                  <a:pt x="597" y="43"/>
                </a:cubicBezTo>
                <a:cubicBezTo>
                  <a:pt x="597" y="39"/>
                  <a:pt x="599" y="38"/>
                  <a:pt x="603" y="38"/>
                </a:cubicBezTo>
                <a:cubicBezTo>
                  <a:pt x="638" y="38"/>
                  <a:pt x="638" y="38"/>
                  <a:pt x="638" y="38"/>
                </a:cubicBezTo>
                <a:cubicBezTo>
                  <a:pt x="642" y="38"/>
                  <a:pt x="643" y="39"/>
                  <a:pt x="643" y="43"/>
                </a:cubicBezTo>
                <a:cubicBezTo>
                  <a:pt x="643" y="121"/>
                  <a:pt x="643" y="121"/>
                  <a:pt x="643" y="121"/>
                </a:cubicBezTo>
                <a:cubicBezTo>
                  <a:pt x="746" y="121"/>
                  <a:pt x="746" y="121"/>
                  <a:pt x="746" y="121"/>
                </a:cubicBezTo>
                <a:cubicBezTo>
                  <a:pt x="750" y="121"/>
                  <a:pt x="751" y="122"/>
                  <a:pt x="751" y="126"/>
                </a:cubicBezTo>
                <a:cubicBezTo>
                  <a:pt x="751" y="162"/>
                  <a:pt x="751" y="162"/>
                  <a:pt x="751" y="162"/>
                </a:cubicBezTo>
                <a:cubicBezTo>
                  <a:pt x="751" y="165"/>
                  <a:pt x="750" y="167"/>
                  <a:pt x="746" y="167"/>
                </a:cubicBezTo>
                <a:cubicBezTo>
                  <a:pt x="644" y="167"/>
                  <a:pt x="644" y="167"/>
                  <a:pt x="644" y="167"/>
                </a:cubicBezTo>
                <a:cubicBezTo>
                  <a:pt x="644" y="289"/>
                  <a:pt x="644" y="289"/>
                  <a:pt x="644" y="289"/>
                </a:cubicBezTo>
                <a:cubicBezTo>
                  <a:pt x="644" y="311"/>
                  <a:pt x="648" y="326"/>
                  <a:pt x="655" y="336"/>
                </a:cubicBezTo>
                <a:cubicBezTo>
                  <a:pt x="663" y="348"/>
                  <a:pt x="675" y="353"/>
                  <a:pt x="694" y="353"/>
                </a:cubicBezTo>
                <a:cubicBezTo>
                  <a:pt x="711" y="353"/>
                  <a:pt x="721" y="351"/>
                  <a:pt x="729" y="342"/>
                </a:cubicBezTo>
                <a:cubicBezTo>
                  <a:pt x="737" y="333"/>
                  <a:pt x="741" y="319"/>
                  <a:pt x="744" y="300"/>
                </a:cubicBezTo>
                <a:cubicBezTo>
                  <a:pt x="745" y="297"/>
                  <a:pt x="746" y="295"/>
                  <a:pt x="750" y="295"/>
                </a:cubicBezTo>
                <a:cubicBezTo>
                  <a:pt x="785" y="295"/>
                  <a:pt x="785" y="295"/>
                  <a:pt x="785" y="295"/>
                </a:cubicBezTo>
                <a:cubicBezTo>
                  <a:pt x="787" y="295"/>
                  <a:pt x="787" y="295"/>
                  <a:pt x="787" y="295"/>
                </a:cubicBezTo>
                <a:cubicBezTo>
                  <a:pt x="788" y="295"/>
                  <a:pt x="788" y="295"/>
                  <a:pt x="789" y="296"/>
                </a:cubicBezTo>
                <a:cubicBezTo>
                  <a:pt x="790" y="296"/>
                  <a:pt x="790" y="297"/>
                  <a:pt x="790" y="297"/>
                </a:cubicBezTo>
                <a:cubicBezTo>
                  <a:pt x="790" y="298"/>
                  <a:pt x="790" y="299"/>
                  <a:pt x="790" y="300"/>
                </a:cubicBezTo>
                <a:cubicBezTo>
                  <a:pt x="790" y="327"/>
                  <a:pt x="784" y="350"/>
                  <a:pt x="765" y="371"/>
                </a:cubicBezTo>
                <a:cubicBezTo>
                  <a:pt x="748" y="390"/>
                  <a:pt x="725" y="400"/>
                  <a:pt x="694" y="400"/>
                </a:cubicBezTo>
                <a:cubicBezTo>
                  <a:pt x="662" y="400"/>
                  <a:pt x="639" y="390"/>
                  <a:pt x="622" y="371"/>
                </a:cubicBezTo>
                <a:cubicBezTo>
                  <a:pt x="606" y="353"/>
                  <a:pt x="597" y="325"/>
                  <a:pt x="597" y="289"/>
                </a:cubicBezTo>
                <a:cubicBezTo>
                  <a:pt x="597" y="167"/>
                  <a:pt x="597" y="167"/>
                  <a:pt x="597" y="167"/>
                </a:cubicBezTo>
                <a:cubicBezTo>
                  <a:pt x="548" y="167"/>
                  <a:pt x="548" y="167"/>
                  <a:pt x="548" y="167"/>
                </a:cubicBezTo>
                <a:cubicBezTo>
                  <a:pt x="545" y="167"/>
                  <a:pt x="543" y="165"/>
                  <a:pt x="543" y="162"/>
                </a:cubicBezTo>
                <a:moveTo>
                  <a:pt x="1997" y="297"/>
                </a:moveTo>
                <a:cubicBezTo>
                  <a:pt x="1965" y="297"/>
                  <a:pt x="1965" y="297"/>
                  <a:pt x="1965" y="297"/>
                </a:cubicBezTo>
                <a:cubicBezTo>
                  <a:pt x="1958" y="297"/>
                  <a:pt x="1956" y="301"/>
                  <a:pt x="1955" y="304"/>
                </a:cubicBezTo>
                <a:cubicBezTo>
                  <a:pt x="1950" y="319"/>
                  <a:pt x="1942" y="331"/>
                  <a:pt x="1929" y="340"/>
                </a:cubicBezTo>
                <a:cubicBezTo>
                  <a:pt x="1917" y="349"/>
                  <a:pt x="1902" y="354"/>
                  <a:pt x="1885" y="354"/>
                </a:cubicBezTo>
                <a:cubicBezTo>
                  <a:pt x="1860" y="354"/>
                  <a:pt x="1837" y="345"/>
                  <a:pt x="1822" y="327"/>
                </a:cubicBezTo>
                <a:cubicBezTo>
                  <a:pt x="1807" y="309"/>
                  <a:pt x="1799" y="286"/>
                  <a:pt x="1799" y="258"/>
                </a:cubicBezTo>
                <a:cubicBezTo>
                  <a:pt x="1799" y="230"/>
                  <a:pt x="1807" y="206"/>
                  <a:pt x="1822" y="188"/>
                </a:cubicBezTo>
                <a:cubicBezTo>
                  <a:pt x="1837" y="170"/>
                  <a:pt x="1860" y="162"/>
                  <a:pt x="1885" y="162"/>
                </a:cubicBezTo>
                <a:cubicBezTo>
                  <a:pt x="1902" y="162"/>
                  <a:pt x="1916" y="166"/>
                  <a:pt x="1928" y="175"/>
                </a:cubicBezTo>
                <a:cubicBezTo>
                  <a:pt x="1941" y="184"/>
                  <a:pt x="1949" y="197"/>
                  <a:pt x="1954" y="213"/>
                </a:cubicBezTo>
                <a:cubicBezTo>
                  <a:pt x="1955" y="215"/>
                  <a:pt x="1957" y="219"/>
                  <a:pt x="1964" y="219"/>
                </a:cubicBezTo>
                <a:cubicBezTo>
                  <a:pt x="1996" y="219"/>
                  <a:pt x="1996" y="219"/>
                  <a:pt x="1996" y="219"/>
                </a:cubicBezTo>
                <a:cubicBezTo>
                  <a:pt x="1999" y="219"/>
                  <a:pt x="2002" y="217"/>
                  <a:pt x="2002" y="213"/>
                </a:cubicBezTo>
                <a:cubicBezTo>
                  <a:pt x="2002" y="211"/>
                  <a:pt x="2002" y="209"/>
                  <a:pt x="2001" y="207"/>
                </a:cubicBezTo>
                <a:cubicBezTo>
                  <a:pt x="1994" y="179"/>
                  <a:pt x="1982" y="157"/>
                  <a:pt x="1962" y="141"/>
                </a:cubicBezTo>
                <a:cubicBezTo>
                  <a:pt x="1942" y="125"/>
                  <a:pt x="1916" y="117"/>
                  <a:pt x="1885" y="117"/>
                </a:cubicBezTo>
                <a:cubicBezTo>
                  <a:pt x="1845" y="117"/>
                  <a:pt x="1812" y="130"/>
                  <a:pt x="1788" y="157"/>
                </a:cubicBezTo>
                <a:cubicBezTo>
                  <a:pt x="1765" y="183"/>
                  <a:pt x="1753" y="217"/>
                  <a:pt x="1753" y="258"/>
                </a:cubicBezTo>
                <a:cubicBezTo>
                  <a:pt x="1753" y="299"/>
                  <a:pt x="1765" y="333"/>
                  <a:pt x="1789" y="360"/>
                </a:cubicBezTo>
                <a:cubicBezTo>
                  <a:pt x="1812" y="386"/>
                  <a:pt x="1845" y="400"/>
                  <a:pt x="1885" y="400"/>
                </a:cubicBezTo>
                <a:cubicBezTo>
                  <a:pt x="1916" y="400"/>
                  <a:pt x="1942" y="392"/>
                  <a:pt x="1962" y="376"/>
                </a:cubicBezTo>
                <a:cubicBezTo>
                  <a:pt x="1982" y="360"/>
                  <a:pt x="1995" y="337"/>
                  <a:pt x="2003" y="309"/>
                </a:cubicBezTo>
                <a:cubicBezTo>
                  <a:pt x="2003" y="307"/>
                  <a:pt x="2003" y="305"/>
                  <a:pt x="2003" y="303"/>
                </a:cubicBezTo>
                <a:cubicBezTo>
                  <a:pt x="2003" y="300"/>
                  <a:pt x="2002" y="297"/>
                  <a:pt x="1997" y="297"/>
                </a:cubicBezTo>
                <a:moveTo>
                  <a:pt x="0" y="389"/>
                </a:moveTo>
                <a:cubicBezTo>
                  <a:pt x="0" y="354"/>
                  <a:pt x="0" y="354"/>
                  <a:pt x="0" y="354"/>
                </a:cubicBezTo>
                <a:cubicBezTo>
                  <a:pt x="0" y="351"/>
                  <a:pt x="2" y="349"/>
                  <a:pt x="6" y="349"/>
                </a:cubicBezTo>
                <a:cubicBezTo>
                  <a:pt x="78" y="349"/>
                  <a:pt x="78" y="349"/>
                  <a:pt x="78" y="349"/>
                </a:cubicBezTo>
                <a:cubicBezTo>
                  <a:pt x="78" y="167"/>
                  <a:pt x="78" y="167"/>
                  <a:pt x="78" y="167"/>
                </a:cubicBezTo>
                <a:cubicBezTo>
                  <a:pt x="19" y="167"/>
                  <a:pt x="19" y="167"/>
                  <a:pt x="19" y="167"/>
                </a:cubicBezTo>
                <a:cubicBezTo>
                  <a:pt x="16" y="167"/>
                  <a:pt x="14" y="165"/>
                  <a:pt x="14" y="162"/>
                </a:cubicBezTo>
                <a:cubicBezTo>
                  <a:pt x="14" y="126"/>
                  <a:pt x="14" y="126"/>
                  <a:pt x="14" y="126"/>
                </a:cubicBezTo>
                <a:cubicBezTo>
                  <a:pt x="14" y="122"/>
                  <a:pt x="16" y="121"/>
                  <a:pt x="19" y="121"/>
                </a:cubicBezTo>
                <a:cubicBezTo>
                  <a:pt x="119" y="121"/>
                  <a:pt x="119" y="121"/>
                  <a:pt x="119" y="121"/>
                </a:cubicBezTo>
                <a:cubicBezTo>
                  <a:pt x="122" y="121"/>
                  <a:pt x="124" y="122"/>
                  <a:pt x="125" y="126"/>
                </a:cubicBezTo>
                <a:cubicBezTo>
                  <a:pt x="125" y="349"/>
                  <a:pt x="125" y="349"/>
                  <a:pt x="125" y="349"/>
                </a:cubicBezTo>
                <a:cubicBezTo>
                  <a:pt x="206" y="349"/>
                  <a:pt x="206" y="349"/>
                  <a:pt x="206" y="349"/>
                </a:cubicBezTo>
                <a:cubicBezTo>
                  <a:pt x="209" y="349"/>
                  <a:pt x="211" y="351"/>
                  <a:pt x="211" y="354"/>
                </a:cubicBezTo>
                <a:cubicBezTo>
                  <a:pt x="211" y="389"/>
                  <a:pt x="211" y="389"/>
                  <a:pt x="211" y="389"/>
                </a:cubicBezTo>
                <a:cubicBezTo>
                  <a:pt x="211" y="393"/>
                  <a:pt x="210" y="395"/>
                  <a:pt x="206" y="395"/>
                </a:cubicBezTo>
                <a:cubicBezTo>
                  <a:pt x="6" y="395"/>
                  <a:pt x="6" y="395"/>
                  <a:pt x="6" y="395"/>
                </a:cubicBezTo>
                <a:cubicBezTo>
                  <a:pt x="2" y="395"/>
                  <a:pt x="0" y="393"/>
                  <a:pt x="0" y="389"/>
                </a:cubicBezTo>
                <a:moveTo>
                  <a:pt x="493" y="227"/>
                </a:moveTo>
                <a:cubicBezTo>
                  <a:pt x="493" y="199"/>
                  <a:pt x="485" y="173"/>
                  <a:pt x="463" y="149"/>
                </a:cubicBezTo>
                <a:cubicBezTo>
                  <a:pt x="444" y="128"/>
                  <a:pt x="411" y="116"/>
                  <a:pt x="381" y="116"/>
                </a:cubicBezTo>
                <a:cubicBezTo>
                  <a:pt x="332" y="116"/>
                  <a:pt x="312" y="150"/>
                  <a:pt x="312" y="150"/>
                </a:cubicBezTo>
                <a:cubicBezTo>
                  <a:pt x="312" y="126"/>
                  <a:pt x="312" y="126"/>
                  <a:pt x="312" y="126"/>
                </a:cubicBezTo>
                <a:cubicBezTo>
                  <a:pt x="312" y="122"/>
                  <a:pt x="311" y="121"/>
                  <a:pt x="307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68" y="121"/>
                  <a:pt x="266" y="122"/>
                  <a:pt x="266" y="126"/>
                </a:cubicBezTo>
                <a:cubicBezTo>
                  <a:pt x="266" y="231"/>
                  <a:pt x="266" y="231"/>
                  <a:pt x="266" y="231"/>
                </a:cubicBezTo>
                <a:cubicBezTo>
                  <a:pt x="266" y="235"/>
                  <a:pt x="266" y="238"/>
                  <a:pt x="266" y="242"/>
                </a:cubicBezTo>
                <a:cubicBezTo>
                  <a:pt x="266" y="244"/>
                  <a:pt x="266" y="247"/>
                  <a:pt x="266" y="250"/>
                </a:cubicBezTo>
                <a:cubicBezTo>
                  <a:pt x="266" y="389"/>
                  <a:pt x="266" y="389"/>
                  <a:pt x="266" y="389"/>
                </a:cubicBezTo>
                <a:cubicBezTo>
                  <a:pt x="266" y="393"/>
                  <a:pt x="268" y="395"/>
                  <a:pt x="272" y="395"/>
                </a:cubicBezTo>
                <a:cubicBezTo>
                  <a:pt x="307" y="395"/>
                  <a:pt x="307" y="395"/>
                  <a:pt x="307" y="395"/>
                </a:cubicBezTo>
                <a:cubicBezTo>
                  <a:pt x="311" y="395"/>
                  <a:pt x="312" y="393"/>
                  <a:pt x="312" y="389"/>
                </a:cubicBezTo>
                <a:cubicBezTo>
                  <a:pt x="312" y="251"/>
                  <a:pt x="312" y="251"/>
                  <a:pt x="312" y="251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50"/>
                  <a:pt x="312" y="250"/>
                  <a:pt x="312" y="250"/>
                </a:cubicBezTo>
                <a:cubicBezTo>
                  <a:pt x="312" y="243"/>
                  <a:pt x="312" y="241"/>
                  <a:pt x="312" y="236"/>
                </a:cubicBezTo>
                <a:cubicBezTo>
                  <a:pt x="312" y="235"/>
                  <a:pt x="312" y="235"/>
                  <a:pt x="312" y="235"/>
                </a:cubicBezTo>
                <a:cubicBezTo>
                  <a:pt x="312" y="234"/>
                  <a:pt x="312" y="233"/>
                  <a:pt x="312" y="232"/>
                </a:cubicBezTo>
                <a:cubicBezTo>
                  <a:pt x="312" y="232"/>
                  <a:pt x="312" y="231"/>
                  <a:pt x="312" y="231"/>
                </a:cubicBezTo>
                <a:cubicBezTo>
                  <a:pt x="312" y="230"/>
                  <a:pt x="313" y="229"/>
                  <a:pt x="313" y="228"/>
                </a:cubicBezTo>
                <a:cubicBezTo>
                  <a:pt x="313" y="228"/>
                  <a:pt x="313" y="224"/>
                  <a:pt x="313" y="223"/>
                </a:cubicBezTo>
                <a:cubicBezTo>
                  <a:pt x="313" y="222"/>
                  <a:pt x="313" y="222"/>
                  <a:pt x="313" y="221"/>
                </a:cubicBezTo>
                <a:cubicBezTo>
                  <a:pt x="313" y="220"/>
                  <a:pt x="313" y="220"/>
                  <a:pt x="313" y="219"/>
                </a:cubicBezTo>
                <a:cubicBezTo>
                  <a:pt x="313" y="218"/>
                  <a:pt x="313" y="218"/>
                  <a:pt x="313" y="217"/>
                </a:cubicBezTo>
                <a:cubicBezTo>
                  <a:pt x="313" y="216"/>
                  <a:pt x="313" y="216"/>
                  <a:pt x="313" y="215"/>
                </a:cubicBezTo>
                <a:cubicBezTo>
                  <a:pt x="314" y="215"/>
                  <a:pt x="314" y="214"/>
                  <a:pt x="314" y="213"/>
                </a:cubicBezTo>
                <a:cubicBezTo>
                  <a:pt x="314" y="213"/>
                  <a:pt x="314" y="212"/>
                  <a:pt x="314" y="211"/>
                </a:cubicBezTo>
                <a:cubicBezTo>
                  <a:pt x="314" y="211"/>
                  <a:pt x="314" y="210"/>
                  <a:pt x="315" y="210"/>
                </a:cubicBezTo>
                <a:cubicBezTo>
                  <a:pt x="315" y="209"/>
                  <a:pt x="315" y="208"/>
                  <a:pt x="315" y="208"/>
                </a:cubicBezTo>
                <a:cubicBezTo>
                  <a:pt x="315" y="207"/>
                  <a:pt x="315" y="207"/>
                  <a:pt x="316" y="206"/>
                </a:cubicBezTo>
                <a:cubicBezTo>
                  <a:pt x="316" y="205"/>
                  <a:pt x="316" y="205"/>
                  <a:pt x="316" y="204"/>
                </a:cubicBezTo>
                <a:cubicBezTo>
                  <a:pt x="316" y="203"/>
                  <a:pt x="317" y="203"/>
                  <a:pt x="317" y="202"/>
                </a:cubicBezTo>
                <a:cubicBezTo>
                  <a:pt x="317" y="202"/>
                  <a:pt x="317" y="201"/>
                  <a:pt x="318" y="200"/>
                </a:cubicBezTo>
                <a:cubicBezTo>
                  <a:pt x="318" y="200"/>
                  <a:pt x="318" y="199"/>
                  <a:pt x="319" y="199"/>
                </a:cubicBezTo>
                <a:cubicBezTo>
                  <a:pt x="319" y="198"/>
                  <a:pt x="319" y="197"/>
                  <a:pt x="319" y="197"/>
                </a:cubicBezTo>
                <a:cubicBezTo>
                  <a:pt x="320" y="196"/>
                  <a:pt x="320" y="195"/>
                  <a:pt x="321" y="195"/>
                </a:cubicBezTo>
                <a:cubicBezTo>
                  <a:pt x="321" y="194"/>
                  <a:pt x="321" y="194"/>
                  <a:pt x="322" y="193"/>
                </a:cubicBezTo>
                <a:cubicBezTo>
                  <a:pt x="322" y="192"/>
                  <a:pt x="323" y="192"/>
                  <a:pt x="323" y="191"/>
                </a:cubicBezTo>
                <a:cubicBezTo>
                  <a:pt x="323" y="190"/>
                  <a:pt x="324" y="190"/>
                  <a:pt x="324" y="189"/>
                </a:cubicBezTo>
                <a:cubicBezTo>
                  <a:pt x="325" y="188"/>
                  <a:pt x="326" y="187"/>
                  <a:pt x="327" y="186"/>
                </a:cubicBezTo>
                <a:cubicBezTo>
                  <a:pt x="342" y="168"/>
                  <a:pt x="360" y="162"/>
                  <a:pt x="380" y="162"/>
                </a:cubicBezTo>
                <a:cubicBezTo>
                  <a:pt x="398" y="162"/>
                  <a:pt x="416" y="169"/>
                  <a:pt x="427" y="180"/>
                </a:cubicBezTo>
                <a:cubicBezTo>
                  <a:pt x="439" y="192"/>
                  <a:pt x="447" y="210"/>
                  <a:pt x="447" y="229"/>
                </a:cubicBezTo>
                <a:cubicBezTo>
                  <a:pt x="447" y="254"/>
                  <a:pt x="447" y="254"/>
                  <a:pt x="447" y="254"/>
                </a:cubicBezTo>
                <a:cubicBezTo>
                  <a:pt x="447" y="389"/>
                  <a:pt x="447" y="389"/>
                  <a:pt x="447" y="389"/>
                </a:cubicBezTo>
                <a:cubicBezTo>
                  <a:pt x="447" y="393"/>
                  <a:pt x="449" y="395"/>
                  <a:pt x="453" y="395"/>
                </a:cubicBezTo>
                <a:cubicBezTo>
                  <a:pt x="488" y="395"/>
                  <a:pt x="488" y="395"/>
                  <a:pt x="488" y="395"/>
                </a:cubicBezTo>
                <a:cubicBezTo>
                  <a:pt x="492" y="395"/>
                  <a:pt x="493" y="393"/>
                  <a:pt x="493" y="389"/>
                </a:cubicBezTo>
                <a:cubicBezTo>
                  <a:pt x="493" y="254"/>
                  <a:pt x="493" y="254"/>
                  <a:pt x="493" y="254"/>
                </a:cubicBezTo>
                <a:cubicBezTo>
                  <a:pt x="493" y="228"/>
                  <a:pt x="493" y="228"/>
                  <a:pt x="493" y="228"/>
                </a:cubicBezTo>
                <a:cubicBezTo>
                  <a:pt x="493" y="227"/>
                  <a:pt x="493" y="227"/>
                  <a:pt x="493" y="227"/>
                </a:cubicBezTo>
                <a:close/>
                <a:moveTo>
                  <a:pt x="105" y="0"/>
                </a:moveTo>
                <a:cubicBezTo>
                  <a:pt x="84" y="0"/>
                  <a:pt x="67" y="17"/>
                  <a:pt x="67" y="38"/>
                </a:cubicBezTo>
                <a:cubicBezTo>
                  <a:pt x="67" y="58"/>
                  <a:pt x="84" y="75"/>
                  <a:pt x="105" y="75"/>
                </a:cubicBezTo>
                <a:cubicBezTo>
                  <a:pt x="125" y="75"/>
                  <a:pt x="142" y="58"/>
                  <a:pt x="142" y="38"/>
                </a:cubicBezTo>
                <a:cubicBezTo>
                  <a:pt x="142" y="17"/>
                  <a:pt x="125" y="0"/>
                  <a:pt x="105" y="0"/>
                </a:cubicBezTo>
                <a:moveTo>
                  <a:pt x="1386" y="179"/>
                </a:moveTo>
                <a:cubicBezTo>
                  <a:pt x="1390" y="177"/>
                  <a:pt x="1391" y="173"/>
                  <a:pt x="1389" y="169"/>
                </a:cubicBezTo>
                <a:cubicBezTo>
                  <a:pt x="1385" y="162"/>
                  <a:pt x="1380" y="156"/>
                  <a:pt x="1374" y="149"/>
                </a:cubicBezTo>
                <a:cubicBezTo>
                  <a:pt x="1355" y="128"/>
                  <a:pt x="1322" y="116"/>
                  <a:pt x="1292" y="116"/>
                </a:cubicBezTo>
                <a:cubicBezTo>
                  <a:pt x="1243" y="116"/>
                  <a:pt x="1223" y="150"/>
                  <a:pt x="1223" y="150"/>
                </a:cubicBezTo>
                <a:cubicBezTo>
                  <a:pt x="1223" y="126"/>
                  <a:pt x="1223" y="126"/>
                  <a:pt x="1223" y="126"/>
                </a:cubicBezTo>
                <a:cubicBezTo>
                  <a:pt x="1223" y="123"/>
                  <a:pt x="1221" y="121"/>
                  <a:pt x="1218" y="121"/>
                </a:cubicBezTo>
                <a:cubicBezTo>
                  <a:pt x="1183" y="121"/>
                  <a:pt x="1183" y="121"/>
                  <a:pt x="1183" y="121"/>
                </a:cubicBezTo>
                <a:cubicBezTo>
                  <a:pt x="1179" y="121"/>
                  <a:pt x="1177" y="122"/>
                  <a:pt x="1177" y="126"/>
                </a:cubicBezTo>
                <a:cubicBezTo>
                  <a:pt x="1177" y="231"/>
                  <a:pt x="1177" y="231"/>
                  <a:pt x="1177" y="231"/>
                </a:cubicBezTo>
                <a:cubicBezTo>
                  <a:pt x="1177" y="235"/>
                  <a:pt x="1177" y="238"/>
                  <a:pt x="1177" y="242"/>
                </a:cubicBezTo>
                <a:cubicBezTo>
                  <a:pt x="1177" y="244"/>
                  <a:pt x="1177" y="247"/>
                  <a:pt x="1177" y="250"/>
                </a:cubicBezTo>
                <a:cubicBezTo>
                  <a:pt x="1177" y="389"/>
                  <a:pt x="1177" y="389"/>
                  <a:pt x="1177" y="389"/>
                </a:cubicBezTo>
                <a:cubicBezTo>
                  <a:pt x="1177" y="393"/>
                  <a:pt x="1179" y="395"/>
                  <a:pt x="1183" y="395"/>
                </a:cubicBezTo>
                <a:cubicBezTo>
                  <a:pt x="1218" y="395"/>
                  <a:pt x="1218" y="395"/>
                  <a:pt x="1218" y="395"/>
                </a:cubicBezTo>
                <a:cubicBezTo>
                  <a:pt x="1221" y="395"/>
                  <a:pt x="1223" y="392"/>
                  <a:pt x="1223" y="389"/>
                </a:cubicBezTo>
                <a:cubicBezTo>
                  <a:pt x="1223" y="251"/>
                  <a:pt x="1223" y="251"/>
                  <a:pt x="1223" y="251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50"/>
                  <a:pt x="1223" y="250"/>
                  <a:pt x="1223" y="250"/>
                </a:cubicBezTo>
                <a:cubicBezTo>
                  <a:pt x="1223" y="243"/>
                  <a:pt x="1223" y="241"/>
                  <a:pt x="1223" y="236"/>
                </a:cubicBezTo>
                <a:cubicBezTo>
                  <a:pt x="1223" y="236"/>
                  <a:pt x="1223" y="235"/>
                  <a:pt x="1223" y="235"/>
                </a:cubicBezTo>
                <a:cubicBezTo>
                  <a:pt x="1223" y="234"/>
                  <a:pt x="1223" y="233"/>
                  <a:pt x="1223" y="232"/>
                </a:cubicBezTo>
                <a:cubicBezTo>
                  <a:pt x="1223" y="232"/>
                  <a:pt x="1223" y="231"/>
                  <a:pt x="1223" y="231"/>
                </a:cubicBezTo>
                <a:cubicBezTo>
                  <a:pt x="1223" y="230"/>
                  <a:pt x="1223" y="229"/>
                  <a:pt x="1224" y="228"/>
                </a:cubicBezTo>
                <a:cubicBezTo>
                  <a:pt x="1224" y="228"/>
                  <a:pt x="1224" y="224"/>
                  <a:pt x="1224" y="223"/>
                </a:cubicBezTo>
                <a:cubicBezTo>
                  <a:pt x="1224" y="222"/>
                  <a:pt x="1224" y="222"/>
                  <a:pt x="1224" y="221"/>
                </a:cubicBezTo>
                <a:cubicBezTo>
                  <a:pt x="1224" y="220"/>
                  <a:pt x="1224" y="220"/>
                  <a:pt x="1224" y="219"/>
                </a:cubicBezTo>
                <a:cubicBezTo>
                  <a:pt x="1224" y="218"/>
                  <a:pt x="1224" y="218"/>
                  <a:pt x="1224" y="217"/>
                </a:cubicBezTo>
                <a:cubicBezTo>
                  <a:pt x="1224" y="216"/>
                  <a:pt x="1224" y="216"/>
                  <a:pt x="1224" y="215"/>
                </a:cubicBezTo>
                <a:cubicBezTo>
                  <a:pt x="1225" y="215"/>
                  <a:pt x="1225" y="214"/>
                  <a:pt x="1225" y="213"/>
                </a:cubicBezTo>
                <a:cubicBezTo>
                  <a:pt x="1225" y="213"/>
                  <a:pt x="1225" y="212"/>
                  <a:pt x="1225" y="211"/>
                </a:cubicBezTo>
                <a:cubicBezTo>
                  <a:pt x="1225" y="211"/>
                  <a:pt x="1225" y="210"/>
                  <a:pt x="1226" y="210"/>
                </a:cubicBezTo>
                <a:cubicBezTo>
                  <a:pt x="1226" y="209"/>
                  <a:pt x="1226" y="208"/>
                  <a:pt x="1226" y="208"/>
                </a:cubicBezTo>
                <a:cubicBezTo>
                  <a:pt x="1226" y="207"/>
                  <a:pt x="1226" y="207"/>
                  <a:pt x="1227" y="206"/>
                </a:cubicBezTo>
                <a:cubicBezTo>
                  <a:pt x="1227" y="205"/>
                  <a:pt x="1227" y="205"/>
                  <a:pt x="1227" y="204"/>
                </a:cubicBezTo>
                <a:cubicBezTo>
                  <a:pt x="1227" y="203"/>
                  <a:pt x="1228" y="203"/>
                  <a:pt x="1228" y="202"/>
                </a:cubicBezTo>
                <a:cubicBezTo>
                  <a:pt x="1228" y="202"/>
                  <a:pt x="1228" y="201"/>
                  <a:pt x="1229" y="200"/>
                </a:cubicBezTo>
                <a:cubicBezTo>
                  <a:pt x="1229" y="200"/>
                  <a:pt x="1229" y="199"/>
                  <a:pt x="1230" y="199"/>
                </a:cubicBezTo>
                <a:cubicBezTo>
                  <a:pt x="1230" y="198"/>
                  <a:pt x="1230" y="197"/>
                  <a:pt x="1230" y="197"/>
                </a:cubicBezTo>
                <a:cubicBezTo>
                  <a:pt x="1231" y="196"/>
                  <a:pt x="1231" y="195"/>
                  <a:pt x="1232" y="195"/>
                </a:cubicBezTo>
                <a:cubicBezTo>
                  <a:pt x="1232" y="194"/>
                  <a:pt x="1232" y="194"/>
                  <a:pt x="1232" y="193"/>
                </a:cubicBezTo>
                <a:cubicBezTo>
                  <a:pt x="1233" y="192"/>
                  <a:pt x="1233" y="192"/>
                  <a:pt x="1234" y="191"/>
                </a:cubicBezTo>
                <a:cubicBezTo>
                  <a:pt x="1234" y="190"/>
                  <a:pt x="1235" y="190"/>
                  <a:pt x="1235" y="189"/>
                </a:cubicBezTo>
                <a:cubicBezTo>
                  <a:pt x="1236" y="188"/>
                  <a:pt x="1237" y="187"/>
                  <a:pt x="1238" y="186"/>
                </a:cubicBezTo>
                <a:cubicBezTo>
                  <a:pt x="1253" y="168"/>
                  <a:pt x="1271" y="162"/>
                  <a:pt x="1291" y="162"/>
                </a:cubicBezTo>
                <a:cubicBezTo>
                  <a:pt x="1308" y="162"/>
                  <a:pt x="1328" y="169"/>
                  <a:pt x="1338" y="180"/>
                </a:cubicBezTo>
                <a:cubicBezTo>
                  <a:pt x="1341" y="184"/>
                  <a:pt x="1345" y="188"/>
                  <a:pt x="1348" y="192"/>
                </a:cubicBezTo>
                <a:cubicBezTo>
                  <a:pt x="1350" y="196"/>
                  <a:pt x="1354" y="197"/>
                  <a:pt x="1357" y="195"/>
                </a:cubicBezTo>
                <a:lnTo>
                  <a:pt x="1386" y="179"/>
                </a:lnTo>
                <a:close/>
                <a:moveTo>
                  <a:pt x="1106" y="268"/>
                </a:moveTo>
                <a:cubicBezTo>
                  <a:pt x="1109" y="268"/>
                  <a:pt x="1112" y="265"/>
                  <a:pt x="1112" y="262"/>
                </a:cubicBezTo>
                <a:cubicBezTo>
                  <a:pt x="1112" y="256"/>
                  <a:pt x="1112" y="249"/>
                  <a:pt x="1112" y="246"/>
                </a:cubicBezTo>
                <a:cubicBezTo>
                  <a:pt x="1107" y="184"/>
                  <a:pt x="1065" y="133"/>
                  <a:pt x="1010" y="120"/>
                </a:cubicBezTo>
                <a:cubicBezTo>
                  <a:pt x="1006" y="119"/>
                  <a:pt x="1002" y="122"/>
                  <a:pt x="1002" y="126"/>
                </a:cubicBezTo>
                <a:cubicBezTo>
                  <a:pt x="1002" y="164"/>
                  <a:pt x="1002" y="164"/>
                  <a:pt x="1002" y="164"/>
                </a:cubicBezTo>
                <a:cubicBezTo>
                  <a:pt x="1002" y="166"/>
                  <a:pt x="1004" y="169"/>
                  <a:pt x="1006" y="170"/>
                </a:cubicBezTo>
                <a:cubicBezTo>
                  <a:pt x="1032" y="179"/>
                  <a:pt x="1053" y="201"/>
                  <a:pt x="1062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9" y="201"/>
                  <a:pt x="930" y="179"/>
                  <a:pt x="956" y="170"/>
                </a:cubicBezTo>
                <a:cubicBezTo>
                  <a:pt x="958" y="169"/>
                  <a:pt x="960" y="166"/>
                  <a:pt x="960" y="164"/>
                </a:cubicBezTo>
                <a:cubicBezTo>
                  <a:pt x="960" y="126"/>
                  <a:pt x="960" y="126"/>
                  <a:pt x="960" y="126"/>
                </a:cubicBezTo>
                <a:cubicBezTo>
                  <a:pt x="960" y="122"/>
                  <a:pt x="956" y="119"/>
                  <a:pt x="952" y="120"/>
                </a:cubicBezTo>
                <a:cubicBezTo>
                  <a:pt x="893" y="134"/>
                  <a:pt x="850" y="191"/>
                  <a:pt x="850" y="258"/>
                </a:cubicBezTo>
                <a:cubicBezTo>
                  <a:pt x="850" y="337"/>
                  <a:pt x="908" y="400"/>
                  <a:pt x="981" y="400"/>
                </a:cubicBezTo>
                <a:cubicBezTo>
                  <a:pt x="1032" y="400"/>
                  <a:pt x="1076" y="369"/>
                  <a:pt x="1098" y="322"/>
                </a:cubicBezTo>
                <a:cubicBezTo>
                  <a:pt x="1100" y="318"/>
                  <a:pt x="1097" y="313"/>
                  <a:pt x="1092" y="313"/>
                </a:cubicBezTo>
                <a:cubicBezTo>
                  <a:pt x="1055" y="313"/>
                  <a:pt x="1055" y="313"/>
                  <a:pt x="1055" y="313"/>
                </a:cubicBezTo>
                <a:cubicBezTo>
                  <a:pt x="1053" y="313"/>
                  <a:pt x="1051" y="314"/>
                  <a:pt x="1049" y="316"/>
                </a:cubicBezTo>
                <a:cubicBezTo>
                  <a:pt x="1034" y="339"/>
                  <a:pt x="1009" y="354"/>
                  <a:pt x="981" y="354"/>
                </a:cubicBezTo>
                <a:cubicBezTo>
                  <a:pt x="936" y="354"/>
                  <a:pt x="900" y="316"/>
                  <a:pt x="896" y="268"/>
                </a:cubicBezTo>
                <a:cubicBezTo>
                  <a:pt x="1066" y="268"/>
                  <a:pt x="1066" y="268"/>
                  <a:pt x="1066" y="268"/>
                </a:cubicBezTo>
                <a:cubicBezTo>
                  <a:pt x="1066" y="268"/>
                  <a:pt x="1066" y="268"/>
                  <a:pt x="1066" y="268"/>
                </a:cubicBezTo>
                <a:lnTo>
                  <a:pt x="1106" y="268"/>
                </a:lnTo>
                <a:close/>
                <a:moveTo>
                  <a:pt x="1692" y="232"/>
                </a:moveTo>
                <a:cubicBezTo>
                  <a:pt x="1692" y="126"/>
                  <a:pt x="1692" y="126"/>
                  <a:pt x="1692" y="126"/>
                </a:cubicBezTo>
                <a:cubicBezTo>
                  <a:pt x="1692" y="123"/>
                  <a:pt x="1690" y="121"/>
                  <a:pt x="1686" y="121"/>
                </a:cubicBezTo>
                <a:cubicBezTo>
                  <a:pt x="1651" y="121"/>
                  <a:pt x="1651" y="121"/>
                  <a:pt x="1651" y="121"/>
                </a:cubicBezTo>
                <a:cubicBezTo>
                  <a:pt x="1648" y="121"/>
                  <a:pt x="1646" y="123"/>
                  <a:pt x="1646" y="126"/>
                </a:cubicBezTo>
                <a:cubicBezTo>
                  <a:pt x="1646" y="149"/>
                  <a:pt x="1646" y="149"/>
                  <a:pt x="1646" y="149"/>
                </a:cubicBezTo>
                <a:cubicBezTo>
                  <a:pt x="1628" y="133"/>
                  <a:pt x="1607" y="121"/>
                  <a:pt x="1583" y="116"/>
                </a:cubicBezTo>
                <a:cubicBezTo>
                  <a:pt x="1580" y="115"/>
                  <a:pt x="1578" y="117"/>
                  <a:pt x="1578" y="120"/>
                </a:cubicBezTo>
                <a:cubicBezTo>
                  <a:pt x="1578" y="161"/>
                  <a:pt x="1578" y="161"/>
                  <a:pt x="1578" y="161"/>
                </a:cubicBezTo>
                <a:cubicBezTo>
                  <a:pt x="1578" y="163"/>
                  <a:pt x="1579" y="165"/>
                  <a:pt x="1581" y="165"/>
                </a:cubicBezTo>
                <a:cubicBezTo>
                  <a:pt x="1619" y="176"/>
                  <a:pt x="1648" y="213"/>
                  <a:pt x="1648" y="258"/>
                </a:cubicBezTo>
                <a:cubicBezTo>
                  <a:pt x="1648" y="311"/>
                  <a:pt x="1608" y="354"/>
                  <a:pt x="1558" y="354"/>
                </a:cubicBezTo>
                <a:cubicBezTo>
                  <a:pt x="1509" y="354"/>
                  <a:pt x="1469" y="311"/>
                  <a:pt x="1469" y="258"/>
                </a:cubicBezTo>
                <a:cubicBezTo>
                  <a:pt x="1469" y="214"/>
                  <a:pt x="1496" y="178"/>
                  <a:pt x="1533" y="166"/>
                </a:cubicBezTo>
                <a:cubicBezTo>
                  <a:pt x="1535" y="165"/>
                  <a:pt x="1536" y="164"/>
                  <a:pt x="1536" y="162"/>
                </a:cubicBezTo>
                <a:cubicBezTo>
                  <a:pt x="1536" y="120"/>
                  <a:pt x="1536" y="120"/>
                  <a:pt x="1536" y="120"/>
                </a:cubicBezTo>
                <a:cubicBezTo>
                  <a:pt x="1536" y="117"/>
                  <a:pt x="1534" y="115"/>
                  <a:pt x="1531" y="116"/>
                </a:cubicBezTo>
                <a:cubicBezTo>
                  <a:pt x="1469" y="128"/>
                  <a:pt x="1422" y="187"/>
                  <a:pt x="1422" y="257"/>
                </a:cubicBezTo>
                <a:cubicBezTo>
                  <a:pt x="1422" y="336"/>
                  <a:pt x="1482" y="400"/>
                  <a:pt x="1557" y="400"/>
                </a:cubicBezTo>
                <a:cubicBezTo>
                  <a:pt x="1591" y="400"/>
                  <a:pt x="1622" y="386"/>
                  <a:pt x="1646" y="364"/>
                </a:cubicBezTo>
                <a:cubicBezTo>
                  <a:pt x="1646" y="390"/>
                  <a:pt x="1646" y="390"/>
                  <a:pt x="1646" y="390"/>
                </a:cubicBezTo>
                <a:cubicBezTo>
                  <a:pt x="1646" y="393"/>
                  <a:pt x="1648" y="395"/>
                  <a:pt x="1651" y="395"/>
                </a:cubicBezTo>
                <a:cubicBezTo>
                  <a:pt x="1686" y="395"/>
                  <a:pt x="1686" y="395"/>
                  <a:pt x="1686" y="395"/>
                </a:cubicBezTo>
                <a:cubicBezTo>
                  <a:pt x="1690" y="395"/>
                  <a:pt x="1692" y="393"/>
                  <a:pt x="1692" y="390"/>
                </a:cubicBezTo>
                <a:cubicBezTo>
                  <a:pt x="1692" y="250"/>
                  <a:pt x="1692" y="250"/>
                  <a:pt x="1692" y="250"/>
                </a:cubicBezTo>
                <a:cubicBezTo>
                  <a:pt x="1692" y="247"/>
                  <a:pt x="1692" y="245"/>
                  <a:pt x="1692" y="242"/>
                </a:cubicBezTo>
                <a:cubicBezTo>
                  <a:pt x="1692" y="239"/>
                  <a:pt x="1692" y="235"/>
                  <a:pt x="1692" y="232"/>
                </a:cubicBezTo>
              </a:path>
            </a:pathLst>
          </a:custGeom>
          <a:solidFill>
            <a:srgbClr val="FF375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054"/>
          </a:p>
        </p:txBody>
      </p:sp>
    </p:spTree>
    <p:extLst>
      <p:ext uri="{BB962C8B-B14F-4D97-AF65-F5344CB8AC3E}">
        <p14:creationId xmlns:p14="http://schemas.microsoft.com/office/powerpoint/2010/main" val="2220086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</p:sldLayoutIdLst>
  <p:transition>
    <p:fade/>
  </p:transition>
  <p:hf hdr="0" dt="0"/>
  <p:txStyles>
    <p:titleStyle>
      <a:lvl1pPr algn="l" defTabSz="1042512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027"/>
        </a:spcAft>
        <a:buFont typeface="Arial" panose="020B0604020202020204" pitchFamily="34" charset="0"/>
        <a:buNone/>
        <a:defRPr sz="1597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027"/>
        </a:spcAft>
        <a:buFont typeface="Arial" panose="020B0604020202020204" pitchFamily="34" charset="0"/>
        <a:buNone/>
        <a:defRPr sz="1597" b="0" kern="1200">
          <a:solidFill>
            <a:schemeClr val="tx2"/>
          </a:solidFill>
          <a:latin typeface="Signify Relative Bold" panose="02000806030000020004" pitchFamily="50" charset="0"/>
          <a:ea typeface="+mn-ea"/>
          <a:cs typeface="+mn-cs"/>
        </a:defRPr>
      </a:lvl2pPr>
      <a:lvl3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027"/>
        </a:spcAft>
        <a:buFont typeface="Arial" panose="020B0604020202020204" pitchFamily="34" charset="0"/>
        <a:buNone/>
        <a:defRPr sz="1597" kern="1200">
          <a:solidFill>
            <a:schemeClr val="accent5"/>
          </a:solidFill>
          <a:latin typeface="+mn-lt"/>
          <a:ea typeface="+mn-ea"/>
          <a:cs typeface="+mn-cs"/>
        </a:defRPr>
      </a:lvl3pPr>
      <a:lvl4pPr marL="290427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80854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871281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161708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452133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742562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684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1pPr>
      <a:lvl2pPr marL="521258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2pPr>
      <a:lvl3pPr marL="1042512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3pPr>
      <a:lvl4pPr marL="156377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4pPr>
      <a:lvl5pPr marL="2085031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5pPr>
      <a:lvl6pPr marL="2606285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6pPr>
      <a:lvl7pPr marL="312754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7pPr>
      <a:lvl8pPr marL="364880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8pPr>
      <a:lvl9pPr marL="4170060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2880">
          <p15:clr>
            <a:srgbClr val="F26B43"/>
          </p15:clr>
        </p15:guide>
        <p15:guide id="3" pos="195">
          <p15:clr>
            <a:srgbClr val="F26B43"/>
          </p15:clr>
        </p15:guide>
        <p15:guide id="4" pos="5565">
          <p15:clr>
            <a:srgbClr val="F26B43"/>
          </p15:clr>
        </p15:guide>
        <p15:guide id="5" orient="horz" pos="25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orient="horz" pos="3989">
          <p15:clr>
            <a:srgbClr val="F26B43"/>
          </p15:clr>
        </p15:guide>
        <p15:guide id="8" orient="horz" pos="379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8161" y="410669"/>
            <a:ext cx="8526014" cy="77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8161" y="1521182"/>
            <a:ext cx="8526014" cy="449473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682" y="6332830"/>
            <a:ext cx="896150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0276" y="6332830"/>
            <a:ext cx="3588300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Footer (Insert &gt; Header &amp; Footer to edit) -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8163" y="6332830"/>
            <a:ext cx="380447" cy="2734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32B354EE-31EA-4FC2-9496-7B620218323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BBC69DF-B91A-4048-A88A-F1538BD17AE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7487775" y="6330327"/>
            <a:ext cx="1346400" cy="188639"/>
            <a:chOff x="0" y="1622"/>
            <a:chExt cx="7680" cy="1076"/>
          </a:xfrm>
          <a:solidFill>
            <a:schemeClr val="tx1"/>
          </a:solidFill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0FFCF9A7-DBD2-4847-A154-A7EA03B0F3D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9" y="1874"/>
              <a:ext cx="479" cy="565"/>
            </a:xfrm>
            <a:custGeom>
              <a:avLst/>
              <a:gdLst>
                <a:gd name="T0" fmla="*/ 766 w 766"/>
                <a:gd name="T1" fmla="*/ 745 h 903"/>
                <a:gd name="T2" fmla="*/ 447 w 766"/>
                <a:gd name="T3" fmla="*/ 903 h 903"/>
                <a:gd name="T4" fmla="*/ 0 w 766"/>
                <a:gd name="T5" fmla="*/ 452 h 903"/>
                <a:gd name="T6" fmla="*/ 447 w 766"/>
                <a:gd name="T7" fmla="*/ 0 h 903"/>
                <a:gd name="T8" fmla="*/ 745 w 766"/>
                <a:gd name="T9" fmla="*/ 136 h 903"/>
                <a:gd name="T10" fmla="*/ 668 w 766"/>
                <a:gd name="T11" fmla="*/ 193 h 903"/>
                <a:gd name="T12" fmla="*/ 447 w 766"/>
                <a:gd name="T13" fmla="*/ 80 h 903"/>
                <a:gd name="T14" fmla="*/ 94 w 766"/>
                <a:gd name="T15" fmla="*/ 452 h 903"/>
                <a:gd name="T16" fmla="*/ 447 w 766"/>
                <a:gd name="T17" fmla="*/ 823 h 903"/>
                <a:gd name="T18" fmla="*/ 694 w 766"/>
                <a:gd name="T19" fmla="*/ 694 h 903"/>
                <a:gd name="T20" fmla="*/ 766 w 766"/>
                <a:gd name="T21" fmla="*/ 745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6" h="903">
                  <a:moveTo>
                    <a:pt x="766" y="745"/>
                  </a:moveTo>
                  <a:cubicBezTo>
                    <a:pt x="708" y="834"/>
                    <a:pt x="590" y="903"/>
                    <a:pt x="447" y="903"/>
                  </a:cubicBezTo>
                  <a:cubicBezTo>
                    <a:pt x="192" y="903"/>
                    <a:pt x="0" y="713"/>
                    <a:pt x="0" y="452"/>
                  </a:cubicBezTo>
                  <a:cubicBezTo>
                    <a:pt x="0" y="191"/>
                    <a:pt x="192" y="0"/>
                    <a:pt x="447" y="0"/>
                  </a:cubicBezTo>
                  <a:cubicBezTo>
                    <a:pt x="554" y="0"/>
                    <a:pt x="670" y="40"/>
                    <a:pt x="745" y="136"/>
                  </a:cubicBezTo>
                  <a:cubicBezTo>
                    <a:pt x="668" y="193"/>
                    <a:pt x="668" y="193"/>
                    <a:pt x="668" y="193"/>
                  </a:cubicBezTo>
                  <a:cubicBezTo>
                    <a:pt x="634" y="137"/>
                    <a:pt x="539" y="80"/>
                    <a:pt x="447" y="80"/>
                  </a:cubicBezTo>
                  <a:cubicBezTo>
                    <a:pt x="226" y="80"/>
                    <a:pt x="94" y="254"/>
                    <a:pt x="94" y="452"/>
                  </a:cubicBezTo>
                  <a:cubicBezTo>
                    <a:pt x="94" y="650"/>
                    <a:pt x="226" y="823"/>
                    <a:pt x="447" y="823"/>
                  </a:cubicBezTo>
                  <a:cubicBezTo>
                    <a:pt x="537" y="823"/>
                    <a:pt x="630" y="793"/>
                    <a:pt x="694" y="694"/>
                  </a:cubicBezTo>
                  <a:lnTo>
                    <a:pt x="766" y="7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4479FF7A-F9F3-463B-93D6-A99613C418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4" y="1874"/>
              <a:ext cx="560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F55B2188-28AA-4E90-9CC5-5A5773B45B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2" y="1888"/>
              <a:ext cx="305" cy="538"/>
            </a:xfrm>
            <a:custGeom>
              <a:avLst/>
              <a:gdLst>
                <a:gd name="T0" fmla="*/ 0 w 305"/>
                <a:gd name="T1" fmla="*/ 0 h 538"/>
                <a:gd name="T2" fmla="*/ 0 w 305"/>
                <a:gd name="T3" fmla="*/ 538 h 538"/>
                <a:gd name="T4" fmla="*/ 305 w 305"/>
                <a:gd name="T5" fmla="*/ 538 h 538"/>
                <a:gd name="T6" fmla="*/ 305 w 305"/>
                <a:gd name="T7" fmla="*/ 488 h 538"/>
                <a:gd name="T8" fmla="*/ 55 w 305"/>
                <a:gd name="T9" fmla="*/ 488 h 538"/>
                <a:gd name="T10" fmla="*/ 55 w 305"/>
                <a:gd name="T11" fmla="*/ 0 h 538"/>
                <a:gd name="T12" fmla="*/ 0 w 305"/>
                <a:gd name="T1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5" h="538">
                  <a:moveTo>
                    <a:pt x="0" y="0"/>
                  </a:moveTo>
                  <a:lnTo>
                    <a:pt x="0" y="538"/>
                  </a:lnTo>
                  <a:lnTo>
                    <a:pt x="305" y="538"/>
                  </a:lnTo>
                  <a:lnTo>
                    <a:pt x="305" y="488"/>
                  </a:lnTo>
                  <a:lnTo>
                    <a:pt x="55" y="488"/>
                  </a:lnTo>
                  <a:lnTo>
                    <a:pt x="5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152796AE-D4C9-40C7-B59E-C5819B3E8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7" y="1874"/>
              <a:ext cx="561" cy="565"/>
            </a:xfrm>
            <a:custGeom>
              <a:avLst/>
              <a:gdLst>
                <a:gd name="T0" fmla="*/ 448 w 896"/>
                <a:gd name="T1" fmla="*/ 80 h 903"/>
                <a:gd name="T2" fmla="*/ 95 w 896"/>
                <a:gd name="T3" fmla="*/ 452 h 903"/>
                <a:gd name="T4" fmla="*/ 448 w 896"/>
                <a:gd name="T5" fmla="*/ 823 h 903"/>
                <a:gd name="T6" fmla="*/ 801 w 896"/>
                <a:gd name="T7" fmla="*/ 452 h 903"/>
                <a:gd name="T8" fmla="*/ 448 w 896"/>
                <a:gd name="T9" fmla="*/ 80 h 903"/>
                <a:gd name="T10" fmla="*/ 448 w 896"/>
                <a:gd name="T11" fmla="*/ 903 h 903"/>
                <a:gd name="T12" fmla="*/ 0 w 896"/>
                <a:gd name="T13" fmla="*/ 452 h 903"/>
                <a:gd name="T14" fmla="*/ 448 w 896"/>
                <a:gd name="T15" fmla="*/ 0 h 903"/>
                <a:gd name="T16" fmla="*/ 896 w 896"/>
                <a:gd name="T17" fmla="*/ 452 h 903"/>
                <a:gd name="T18" fmla="*/ 448 w 896"/>
                <a:gd name="T19" fmla="*/ 903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6" h="903">
                  <a:moveTo>
                    <a:pt x="448" y="80"/>
                  </a:moveTo>
                  <a:cubicBezTo>
                    <a:pt x="227" y="80"/>
                    <a:pt x="95" y="254"/>
                    <a:pt x="95" y="452"/>
                  </a:cubicBezTo>
                  <a:cubicBezTo>
                    <a:pt x="95" y="649"/>
                    <a:pt x="227" y="823"/>
                    <a:pt x="448" y="823"/>
                  </a:cubicBezTo>
                  <a:cubicBezTo>
                    <a:pt x="669" y="823"/>
                    <a:pt x="801" y="649"/>
                    <a:pt x="801" y="452"/>
                  </a:cubicBezTo>
                  <a:cubicBezTo>
                    <a:pt x="801" y="254"/>
                    <a:pt x="669" y="80"/>
                    <a:pt x="448" y="80"/>
                  </a:cubicBezTo>
                  <a:moveTo>
                    <a:pt x="448" y="903"/>
                  </a:moveTo>
                  <a:cubicBezTo>
                    <a:pt x="192" y="903"/>
                    <a:pt x="0" y="712"/>
                    <a:pt x="0" y="452"/>
                  </a:cubicBezTo>
                  <a:cubicBezTo>
                    <a:pt x="0" y="191"/>
                    <a:pt x="192" y="0"/>
                    <a:pt x="448" y="0"/>
                  </a:cubicBezTo>
                  <a:cubicBezTo>
                    <a:pt x="704" y="0"/>
                    <a:pt x="896" y="191"/>
                    <a:pt x="896" y="452"/>
                  </a:cubicBezTo>
                  <a:cubicBezTo>
                    <a:pt x="896" y="712"/>
                    <a:pt x="704" y="903"/>
                    <a:pt x="448" y="90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0E1C2BAE-BB5D-4E35-9D78-E1D2C377C5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82" y="1888"/>
              <a:ext cx="503" cy="538"/>
            </a:xfrm>
            <a:custGeom>
              <a:avLst/>
              <a:gdLst>
                <a:gd name="T0" fmla="*/ 0 w 503"/>
                <a:gd name="T1" fmla="*/ 0 h 538"/>
                <a:gd name="T2" fmla="*/ 119 w 503"/>
                <a:gd name="T3" fmla="*/ 0 h 538"/>
                <a:gd name="T4" fmla="*/ 119 w 503"/>
                <a:gd name="T5" fmla="*/ 243 h 538"/>
                <a:gd name="T6" fmla="*/ 327 w 503"/>
                <a:gd name="T7" fmla="*/ 0 h 538"/>
                <a:gd name="T8" fmla="*/ 482 w 503"/>
                <a:gd name="T9" fmla="*/ 0 h 538"/>
                <a:gd name="T10" fmla="*/ 243 w 503"/>
                <a:gd name="T11" fmla="*/ 270 h 538"/>
                <a:gd name="T12" fmla="*/ 503 w 503"/>
                <a:gd name="T13" fmla="*/ 538 h 538"/>
                <a:gd name="T14" fmla="*/ 337 w 503"/>
                <a:gd name="T15" fmla="*/ 538 h 538"/>
                <a:gd name="T16" fmla="*/ 119 w 503"/>
                <a:gd name="T17" fmla="*/ 302 h 538"/>
                <a:gd name="T18" fmla="*/ 119 w 503"/>
                <a:gd name="T19" fmla="*/ 538 h 538"/>
                <a:gd name="T20" fmla="*/ 0 w 503"/>
                <a:gd name="T21" fmla="*/ 538 h 538"/>
                <a:gd name="T22" fmla="*/ 0 w 503"/>
                <a:gd name="T23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03" h="538">
                  <a:moveTo>
                    <a:pt x="0" y="0"/>
                  </a:moveTo>
                  <a:lnTo>
                    <a:pt x="119" y="0"/>
                  </a:lnTo>
                  <a:lnTo>
                    <a:pt x="119" y="243"/>
                  </a:lnTo>
                  <a:lnTo>
                    <a:pt x="327" y="0"/>
                  </a:lnTo>
                  <a:lnTo>
                    <a:pt x="482" y="0"/>
                  </a:lnTo>
                  <a:lnTo>
                    <a:pt x="243" y="270"/>
                  </a:lnTo>
                  <a:lnTo>
                    <a:pt x="503" y="538"/>
                  </a:lnTo>
                  <a:lnTo>
                    <a:pt x="337" y="538"/>
                  </a:lnTo>
                  <a:lnTo>
                    <a:pt x="119" y="302"/>
                  </a:lnTo>
                  <a:lnTo>
                    <a:pt x="119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Rectangle 10">
              <a:extLst>
                <a:ext uri="{FF2B5EF4-FFF2-40B4-BE49-F238E27FC236}">
                  <a16:creationId xmlns:a16="http://schemas.microsoft.com/office/drawing/2014/main" id="{3CE81B52-67DB-43BE-AF08-1A4204F159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3" y="1888"/>
              <a:ext cx="118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A9E8EE9E-BCA4-4F76-B48A-71B212A28E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0" y="1888"/>
              <a:ext cx="509" cy="538"/>
            </a:xfrm>
            <a:custGeom>
              <a:avLst/>
              <a:gdLst>
                <a:gd name="T0" fmla="*/ 0 w 509"/>
                <a:gd name="T1" fmla="*/ 0 h 538"/>
                <a:gd name="T2" fmla="*/ 160 w 509"/>
                <a:gd name="T3" fmla="*/ 0 h 538"/>
                <a:gd name="T4" fmla="*/ 389 w 509"/>
                <a:gd name="T5" fmla="*/ 374 h 538"/>
                <a:gd name="T6" fmla="*/ 391 w 509"/>
                <a:gd name="T7" fmla="*/ 374 h 538"/>
                <a:gd name="T8" fmla="*/ 391 w 509"/>
                <a:gd name="T9" fmla="*/ 0 h 538"/>
                <a:gd name="T10" fmla="*/ 509 w 509"/>
                <a:gd name="T11" fmla="*/ 0 h 538"/>
                <a:gd name="T12" fmla="*/ 509 w 509"/>
                <a:gd name="T13" fmla="*/ 538 h 538"/>
                <a:gd name="T14" fmla="*/ 354 w 509"/>
                <a:gd name="T15" fmla="*/ 538 h 538"/>
                <a:gd name="T16" fmla="*/ 120 w 509"/>
                <a:gd name="T17" fmla="*/ 155 h 538"/>
                <a:gd name="T18" fmla="*/ 118 w 509"/>
                <a:gd name="T19" fmla="*/ 155 h 538"/>
                <a:gd name="T20" fmla="*/ 118 w 509"/>
                <a:gd name="T21" fmla="*/ 538 h 538"/>
                <a:gd name="T22" fmla="*/ 0 w 509"/>
                <a:gd name="T23" fmla="*/ 538 h 538"/>
                <a:gd name="T24" fmla="*/ 0 w 509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9" h="538">
                  <a:moveTo>
                    <a:pt x="0" y="0"/>
                  </a:moveTo>
                  <a:lnTo>
                    <a:pt x="160" y="0"/>
                  </a:lnTo>
                  <a:lnTo>
                    <a:pt x="389" y="374"/>
                  </a:lnTo>
                  <a:lnTo>
                    <a:pt x="391" y="374"/>
                  </a:lnTo>
                  <a:lnTo>
                    <a:pt x="391" y="0"/>
                  </a:lnTo>
                  <a:lnTo>
                    <a:pt x="509" y="0"/>
                  </a:lnTo>
                  <a:lnTo>
                    <a:pt x="509" y="538"/>
                  </a:lnTo>
                  <a:lnTo>
                    <a:pt x="354" y="538"/>
                  </a:lnTo>
                  <a:lnTo>
                    <a:pt x="120" y="155"/>
                  </a:lnTo>
                  <a:lnTo>
                    <a:pt x="118" y="155"/>
                  </a:lnTo>
                  <a:lnTo>
                    <a:pt x="118" y="538"/>
                  </a:lnTo>
                  <a:lnTo>
                    <a:pt x="0" y="53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C2900579-C7C4-4F7B-97EF-85E0ABC17D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08" y="1888"/>
              <a:ext cx="378" cy="538"/>
            </a:xfrm>
            <a:custGeom>
              <a:avLst/>
              <a:gdLst>
                <a:gd name="T0" fmla="*/ 0 w 378"/>
                <a:gd name="T1" fmla="*/ 0 h 538"/>
                <a:gd name="T2" fmla="*/ 0 w 378"/>
                <a:gd name="T3" fmla="*/ 538 h 538"/>
                <a:gd name="T4" fmla="*/ 378 w 378"/>
                <a:gd name="T5" fmla="*/ 538 h 538"/>
                <a:gd name="T6" fmla="*/ 378 w 378"/>
                <a:gd name="T7" fmla="*/ 433 h 538"/>
                <a:gd name="T8" fmla="*/ 118 w 378"/>
                <a:gd name="T9" fmla="*/ 433 h 538"/>
                <a:gd name="T10" fmla="*/ 118 w 378"/>
                <a:gd name="T11" fmla="*/ 319 h 538"/>
                <a:gd name="T12" fmla="*/ 351 w 378"/>
                <a:gd name="T13" fmla="*/ 319 h 538"/>
                <a:gd name="T14" fmla="*/ 351 w 378"/>
                <a:gd name="T15" fmla="*/ 210 h 538"/>
                <a:gd name="T16" fmla="*/ 118 w 378"/>
                <a:gd name="T17" fmla="*/ 210 h 538"/>
                <a:gd name="T18" fmla="*/ 118 w 378"/>
                <a:gd name="T19" fmla="*/ 105 h 538"/>
                <a:gd name="T20" fmla="*/ 364 w 378"/>
                <a:gd name="T21" fmla="*/ 105 h 538"/>
                <a:gd name="T22" fmla="*/ 364 w 378"/>
                <a:gd name="T23" fmla="*/ 0 h 538"/>
                <a:gd name="T24" fmla="*/ 0 w 378"/>
                <a:gd name="T25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8" h="538">
                  <a:moveTo>
                    <a:pt x="0" y="0"/>
                  </a:moveTo>
                  <a:lnTo>
                    <a:pt x="0" y="538"/>
                  </a:lnTo>
                  <a:lnTo>
                    <a:pt x="378" y="538"/>
                  </a:lnTo>
                  <a:lnTo>
                    <a:pt x="378" y="433"/>
                  </a:lnTo>
                  <a:lnTo>
                    <a:pt x="118" y="433"/>
                  </a:lnTo>
                  <a:lnTo>
                    <a:pt x="118" y="319"/>
                  </a:lnTo>
                  <a:lnTo>
                    <a:pt x="351" y="319"/>
                  </a:lnTo>
                  <a:lnTo>
                    <a:pt x="351" y="210"/>
                  </a:lnTo>
                  <a:lnTo>
                    <a:pt x="118" y="210"/>
                  </a:lnTo>
                  <a:lnTo>
                    <a:pt x="118" y="105"/>
                  </a:lnTo>
                  <a:lnTo>
                    <a:pt x="364" y="105"/>
                  </a:lnTo>
                  <a:lnTo>
                    <a:pt x="3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2613F180-C570-4007-85C0-3B52DCF4C5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2" y="1888"/>
              <a:ext cx="424" cy="538"/>
            </a:xfrm>
            <a:custGeom>
              <a:avLst/>
              <a:gdLst>
                <a:gd name="T0" fmla="*/ 0 w 424"/>
                <a:gd name="T1" fmla="*/ 0 h 538"/>
                <a:gd name="T2" fmla="*/ 0 w 424"/>
                <a:gd name="T3" fmla="*/ 105 h 538"/>
                <a:gd name="T4" fmla="*/ 152 w 424"/>
                <a:gd name="T5" fmla="*/ 105 h 538"/>
                <a:gd name="T6" fmla="*/ 152 w 424"/>
                <a:gd name="T7" fmla="*/ 538 h 538"/>
                <a:gd name="T8" fmla="*/ 271 w 424"/>
                <a:gd name="T9" fmla="*/ 538 h 538"/>
                <a:gd name="T10" fmla="*/ 271 w 424"/>
                <a:gd name="T11" fmla="*/ 105 h 538"/>
                <a:gd name="T12" fmla="*/ 424 w 424"/>
                <a:gd name="T13" fmla="*/ 105 h 538"/>
                <a:gd name="T14" fmla="*/ 424 w 424"/>
                <a:gd name="T15" fmla="*/ 0 h 538"/>
                <a:gd name="T16" fmla="*/ 0 w 424"/>
                <a:gd name="T17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538">
                  <a:moveTo>
                    <a:pt x="0" y="0"/>
                  </a:moveTo>
                  <a:lnTo>
                    <a:pt x="0" y="105"/>
                  </a:lnTo>
                  <a:lnTo>
                    <a:pt x="152" y="105"/>
                  </a:lnTo>
                  <a:lnTo>
                    <a:pt x="152" y="538"/>
                  </a:lnTo>
                  <a:lnTo>
                    <a:pt x="271" y="538"/>
                  </a:lnTo>
                  <a:lnTo>
                    <a:pt x="271" y="105"/>
                  </a:lnTo>
                  <a:lnTo>
                    <a:pt x="424" y="105"/>
                  </a:lnTo>
                  <a:lnTo>
                    <a:pt x="42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6" name="Rectangle 14">
              <a:extLst>
                <a:ext uri="{FF2B5EF4-FFF2-40B4-BE49-F238E27FC236}">
                  <a16:creationId xmlns:a16="http://schemas.microsoft.com/office/drawing/2014/main" id="{EA2BBEB7-9282-4FD2-AF44-7C046B5100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554" y="1888"/>
              <a:ext cx="119" cy="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99FA116E-BA6F-4CDC-A70D-E316DDB17D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58" y="1888"/>
              <a:ext cx="383" cy="538"/>
            </a:xfrm>
            <a:custGeom>
              <a:avLst/>
              <a:gdLst>
                <a:gd name="T0" fmla="*/ 87 w 613"/>
                <a:gd name="T1" fmla="*/ 376 h 859"/>
                <a:gd name="T2" fmla="*/ 278 w 613"/>
                <a:gd name="T3" fmla="*/ 376 h 859"/>
                <a:gd name="T4" fmla="*/ 462 w 613"/>
                <a:gd name="T5" fmla="*/ 228 h 859"/>
                <a:gd name="T6" fmla="*/ 278 w 613"/>
                <a:gd name="T7" fmla="*/ 82 h 859"/>
                <a:gd name="T8" fmla="*/ 87 w 613"/>
                <a:gd name="T9" fmla="*/ 82 h 859"/>
                <a:gd name="T10" fmla="*/ 87 w 613"/>
                <a:gd name="T11" fmla="*/ 376 h 859"/>
                <a:gd name="T12" fmla="*/ 497 w 613"/>
                <a:gd name="T13" fmla="*/ 859 h 859"/>
                <a:gd name="T14" fmla="*/ 87 w 613"/>
                <a:gd name="T15" fmla="*/ 428 h 859"/>
                <a:gd name="T16" fmla="*/ 87 w 613"/>
                <a:gd name="T17" fmla="*/ 859 h 859"/>
                <a:gd name="T18" fmla="*/ 0 w 613"/>
                <a:gd name="T19" fmla="*/ 859 h 859"/>
                <a:gd name="T20" fmla="*/ 0 w 613"/>
                <a:gd name="T21" fmla="*/ 0 h 859"/>
                <a:gd name="T22" fmla="*/ 270 w 613"/>
                <a:gd name="T23" fmla="*/ 0 h 859"/>
                <a:gd name="T24" fmla="*/ 555 w 613"/>
                <a:gd name="T25" fmla="*/ 228 h 859"/>
                <a:gd name="T26" fmla="*/ 270 w 613"/>
                <a:gd name="T27" fmla="*/ 453 h 859"/>
                <a:gd name="T28" fmla="*/ 222 w 613"/>
                <a:gd name="T29" fmla="*/ 453 h 859"/>
                <a:gd name="T30" fmla="*/ 613 w 613"/>
                <a:gd name="T31" fmla="*/ 859 h 859"/>
                <a:gd name="T32" fmla="*/ 497 w 613"/>
                <a:gd name="T33" fmla="*/ 859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3" h="859">
                  <a:moveTo>
                    <a:pt x="87" y="376"/>
                  </a:moveTo>
                  <a:cubicBezTo>
                    <a:pt x="278" y="376"/>
                    <a:pt x="278" y="376"/>
                    <a:pt x="278" y="376"/>
                  </a:cubicBezTo>
                  <a:cubicBezTo>
                    <a:pt x="396" y="376"/>
                    <a:pt x="462" y="328"/>
                    <a:pt x="462" y="228"/>
                  </a:cubicBezTo>
                  <a:cubicBezTo>
                    <a:pt x="462" y="129"/>
                    <a:pt x="396" y="82"/>
                    <a:pt x="278" y="82"/>
                  </a:cubicBezTo>
                  <a:cubicBezTo>
                    <a:pt x="87" y="82"/>
                    <a:pt x="87" y="82"/>
                    <a:pt x="87" y="82"/>
                  </a:cubicBezTo>
                  <a:lnTo>
                    <a:pt x="87" y="376"/>
                  </a:lnTo>
                  <a:close/>
                  <a:moveTo>
                    <a:pt x="497" y="859"/>
                  </a:moveTo>
                  <a:cubicBezTo>
                    <a:pt x="87" y="428"/>
                    <a:pt x="87" y="428"/>
                    <a:pt x="87" y="428"/>
                  </a:cubicBezTo>
                  <a:cubicBezTo>
                    <a:pt x="87" y="859"/>
                    <a:pt x="87" y="859"/>
                    <a:pt x="87" y="859"/>
                  </a:cubicBezTo>
                  <a:cubicBezTo>
                    <a:pt x="0" y="859"/>
                    <a:pt x="0" y="859"/>
                    <a:pt x="0" y="8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457" y="0"/>
                    <a:pt x="555" y="91"/>
                    <a:pt x="555" y="228"/>
                  </a:cubicBezTo>
                  <a:cubicBezTo>
                    <a:pt x="555" y="367"/>
                    <a:pt x="457" y="453"/>
                    <a:pt x="270" y="453"/>
                  </a:cubicBezTo>
                  <a:cubicBezTo>
                    <a:pt x="222" y="453"/>
                    <a:pt x="222" y="453"/>
                    <a:pt x="222" y="453"/>
                  </a:cubicBezTo>
                  <a:cubicBezTo>
                    <a:pt x="613" y="859"/>
                    <a:pt x="613" y="859"/>
                    <a:pt x="613" y="859"/>
                  </a:cubicBezTo>
                  <a:lnTo>
                    <a:pt x="497" y="8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2B36F9AB-2028-4CC6-99B0-9F4676737C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52" y="1881"/>
              <a:ext cx="476" cy="558"/>
            </a:xfrm>
            <a:custGeom>
              <a:avLst/>
              <a:gdLst>
                <a:gd name="T0" fmla="*/ 0 w 761"/>
                <a:gd name="T1" fmla="*/ 447 h 893"/>
                <a:gd name="T2" fmla="*/ 417 w 761"/>
                <a:gd name="T3" fmla="*/ 0 h 893"/>
                <a:gd name="T4" fmla="*/ 747 w 761"/>
                <a:gd name="T5" fmla="*/ 181 h 893"/>
                <a:gd name="T6" fmla="*/ 614 w 761"/>
                <a:gd name="T7" fmla="*/ 285 h 893"/>
                <a:gd name="T8" fmla="*/ 421 w 761"/>
                <a:gd name="T9" fmla="*/ 178 h 893"/>
                <a:gd name="T10" fmla="*/ 197 w 761"/>
                <a:gd name="T11" fmla="*/ 447 h 893"/>
                <a:gd name="T12" fmla="*/ 427 w 761"/>
                <a:gd name="T13" fmla="*/ 715 h 893"/>
                <a:gd name="T14" fmla="*/ 623 w 761"/>
                <a:gd name="T15" fmla="*/ 608 h 893"/>
                <a:gd name="T16" fmla="*/ 761 w 761"/>
                <a:gd name="T17" fmla="*/ 715 h 893"/>
                <a:gd name="T18" fmla="*/ 423 w 761"/>
                <a:gd name="T19" fmla="*/ 893 h 893"/>
                <a:gd name="T20" fmla="*/ 0 w 761"/>
                <a:gd name="T21" fmla="*/ 447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1" h="893">
                  <a:moveTo>
                    <a:pt x="0" y="447"/>
                  </a:moveTo>
                  <a:cubicBezTo>
                    <a:pt x="0" y="177"/>
                    <a:pt x="160" y="0"/>
                    <a:pt x="417" y="0"/>
                  </a:cubicBezTo>
                  <a:cubicBezTo>
                    <a:pt x="582" y="0"/>
                    <a:pt x="698" y="79"/>
                    <a:pt x="747" y="181"/>
                  </a:cubicBezTo>
                  <a:cubicBezTo>
                    <a:pt x="614" y="285"/>
                    <a:pt x="614" y="285"/>
                    <a:pt x="614" y="285"/>
                  </a:cubicBezTo>
                  <a:cubicBezTo>
                    <a:pt x="570" y="211"/>
                    <a:pt x="493" y="178"/>
                    <a:pt x="421" y="178"/>
                  </a:cubicBezTo>
                  <a:cubicBezTo>
                    <a:pt x="295" y="178"/>
                    <a:pt x="197" y="269"/>
                    <a:pt x="197" y="447"/>
                  </a:cubicBezTo>
                  <a:cubicBezTo>
                    <a:pt x="197" y="614"/>
                    <a:pt x="300" y="715"/>
                    <a:pt x="427" y="715"/>
                  </a:cubicBezTo>
                  <a:cubicBezTo>
                    <a:pt x="500" y="715"/>
                    <a:pt x="579" y="682"/>
                    <a:pt x="623" y="608"/>
                  </a:cubicBezTo>
                  <a:cubicBezTo>
                    <a:pt x="761" y="715"/>
                    <a:pt x="761" y="715"/>
                    <a:pt x="761" y="715"/>
                  </a:cubicBezTo>
                  <a:cubicBezTo>
                    <a:pt x="699" y="819"/>
                    <a:pt x="590" y="893"/>
                    <a:pt x="423" y="893"/>
                  </a:cubicBezTo>
                  <a:cubicBezTo>
                    <a:pt x="163" y="893"/>
                    <a:pt x="0" y="716"/>
                    <a:pt x="0" y="44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49" name="Freeform 17">
              <a:extLst>
                <a:ext uri="{FF2B5EF4-FFF2-40B4-BE49-F238E27FC236}">
                  <a16:creationId xmlns:a16="http://schemas.microsoft.com/office/drawing/2014/main" id="{B90C88C7-0ADF-411B-A67A-1B486E023F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71" y="1874"/>
              <a:ext cx="409" cy="565"/>
            </a:xfrm>
            <a:custGeom>
              <a:avLst/>
              <a:gdLst>
                <a:gd name="T0" fmla="*/ 404 w 654"/>
                <a:gd name="T1" fmla="*/ 376 h 903"/>
                <a:gd name="T2" fmla="*/ 287 w 654"/>
                <a:gd name="T3" fmla="*/ 354 h 903"/>
                <a:gd name="T4" fmla="*/ 202 w 654"/>
                <a:gd name="T5" fmla="*/ 264 h 903"/>
                <a:gd name="T6" fmla="*/ 321 w 654"/>
                <a:gd name="T7" fmla="*/ 171 h 903"/>
                <a:gd name="T8" fmla="*/ 478 w 654"/>
                <a:gd name="T9" fmla="*/ 270 h 903"/>
                <a:gd name="T10" fmla="*/ 617 w 654"/>
                <a:gd name="T11" fmla="*/ 163 h 903"/>
                <a:gd name="T12" fmla="*/ 322 w 654"/>
                <a:gd name="T13" fmla="*/ 0 h 903"/>
                <a:gd name="T14" fmla="*/ 12 w 654"/>
                <a:gd name="T15" fmla="*/ 279 h 903"/>
                <a:gd name="T16" fmla="*/ 247 w 654"/>
                <a:gd name="T17" fmla="*/ 523 h 903"/>
                <a:gd name="T18" fmla="*/ 366 w 654"/>
                <a:gd name="T19" fmla="*/ 546 h 903"/>
                <a:gd name="T20" fmla="*/ 459 w 654"/>
                <a:gd name="T21" fmla="*/ 642 h 903"/>
                <a:gd name="T22" fmla="*/ 336 w 654"/>
                <a:gd name="T23" fmla="*/ 734 h 903"/>
                <a:gd name="T24" fmla="*/ 143 w 654"/>
                <a:gd name="T25" fmla="*/ 594 h 903"/>
                <a:gd name="T26" fmla="*/ 0 w 654"/>
                <a:gd name="T27" fmla="*/ 704 h 903"/>
                <a:gd name="T28" fmla="*/ 334 w 654"/>
                <a:gd name="T29" fmla="*/ 903 h 903"/>
                <a:gd name="T30" fmla="*/ 654 w 654"/>
                <a:gd name="T31" fmla="*/ 629 h 903"/>
                <a:gd name="T32" fmla="*/ 404 w 654"/>
                <a:gd name="T33" fmla="*/ 37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4" h="903">
                  <a:moveTo>
                    <a:pt x="404" y="376"/>
                  </a:moveTo>
                  <a:cubicBezTo>
                    <a:pt x="287" y="354"/>
                    <a:pt x="287" y="354"/>
                    <a:pt x="287" y="354"/>
                  </a:cubicBezTo>
                  <a:cubicBezTo>
                    <a:pt x="228" y="344"/>
                    <a:pt x="202" y="305"/>
                    <a:pt x="202" y="264"/>
                  </a:cubicBezTo>
                  <a:cubicBezTo>
                    <a:pt x="202" y="216"/>
                    <a:pt x="249" y="171"/>
                    <a:pt x="321" y="171"/>
                  </a:cubicBezTo>
                  <a:cubicBezTo>
                    <a:pt x="403" y="171"/>
                    <a:pt x="451" y="222"/>
                    <a:pt x="478" y="270"/>
                  </a:cubicBezTo>
                  <a:cubicBezTo>
                    <a:pt x="617" y="163"/>
                    <a:pt x="617" y="163"/>
                    <a:pt x="617" y="163"/>
                  </a:cubicBezTo>
                  <a:cubicBezTo>
                    <a:pt x="578" y="79"/>
                    <a:pt x="491" y="0"/>
                    <a:pt x="322" y="0"/>
                  </a:cubicBezTo>
                  <a:cubicBezTo>
                    <a:pt x="156" y="0"/>
                    <a:pt x="12" y="115"/>
                    <a:pt x="12" y="279"/>
                  </a:cubicBezTo>
                  <a:cubicBezTo>
                    <a:pt x="12" y="407"/>
                    <a:pt x="101" y="496"/>
                    <a:pt x="247" y="523"/>
                  </a:cubicBezTo>
                  <a:cubicBezTo>
                    <a:pt x="366" y="546"/>
                    <a:pt x="366" y="546"/>
                    <a:pt x="366" y="546"/>
                  </a:cubicBezTo>
                  <a:cubicBezTo>
                    <a:pt x="423" y="557"/>
                    <a:pt x="459" y="597"/>
                    <a:pt x="459" y="642"/>
                  </a:cubicBezTo>
                  <a:cubicBezTo>
                    <a:pt x="459" y="695"/>
                    <a:pt x="413" y="734"/>
                    <a:pt x="336" y="734"/>
                  </a:cubicBezTo>
                  <a:cubicBezTo>
                    <a:pt x="219" y="734"/>
                    <a:pt x="161" y="649"/>
                    <a:pt x="143" y="594"/>
                  </a:cubicBezTo>
                  <a:cubicBezTo>
                    <a:pt x="0" y="704"/>
                    <a:pt x="0" y="704"/>
                    <a:pt x="0" y="704"/>
                  </a:cubicBezTo>
                  <a:cubicBezTo>
                    <a:pt x="41" y="806"/>
                    <a:pt x="144" y="903"/>
                    <a:pt x="334" y="903"/>
                  </a:cubicBezTo>
                  <a:cubicBezTo>
                    <a:pt x="541" y="903"/>
                    <a:pt x="654" y="765"/>
                    <a:pt x="654" y="629"/>
                  </a:cubicBezTo>
                  <a:cubicBezTo>
                    <a:pt x="654" y="506"/>
                    <a:pt x="569" y="407"/>
                    <a:pt x="404" y="37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0D4D173B-3FFC-4AE8-AB7B-8C80668EA8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0" y="1622"/>
              <a:ext cx="857" cy="1076"/>
            </a:xfrm>
            <a:custGeom>
              <a:avLst/>
              <a:gdLst>
                <a:gd name="T0" fmla="*/ 859 w 1370"/>
                <a:gd name="T1" fmla="*/ 1020 h 1719"/>
                <a:gd name="T2" fmla="*/ 859 w 1370"/>
                <a:gd name="T3" fmla="*/ 1336 h 1719"/>
                <a:gd name="T4" fmla="*/ 383 w 1370"/>
                <a:gd name="T5" fmla="*/ 860 h 1719"/>
                <a:gd name="T6" fmla="*/ 859 w 1370"/>
                <a:gd name="T7" fmla="*/ 384 h 1719"/>
                <a:gd name="T8" fmla="*/ 859 w 1370"/>
                <a:gd name="T9" fmla="*/ 714 h 1719"/>
                <a:gd name="T10" fmla="*/ 1370 w 1370"/>
                <a:gd name="T11" fmla="*/ 169 h 1719"/>
                <a:gd name="T12" fmla="*/ 859 w 1370"/>
                <a:gd name="T13" fmla="*/ 0 h 1719"/>
                <a:gd name="T14" fmla="*/ 0 w 1370"/>
                <a:gd name="T15" fmla="*/ 860 h 1719"/>
                <a:gd name="T16" fmla="*/ 859 w 1370"/>
                <a:gd name="T17" fmla="*/ 1719 h 1719"/>
                <a:gd name="T18" fmla="*/ 1335 w 1370"/>
                <a:gd name="T19" fmla="*/ 1575 h 1719"/>
                <a:gd name="T20" fmla="*/ 859 w 1370"/>
                <a:gd name="T21" fmla="*/ 1020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0" h="1719">
                  <a:moveTo>
                    <a:pt x="859" y="1020"/>
                  </a:moveTo>
                  <a:cubicBezTo>
                    <a:pt x="859" y="1336"/>
                    <a:pt x="859" y="1336"/>
                    <a:pt x="859" y="1336"/>
                  </a:cubicBezTo>
                  <a:cubicBezTo>
                    <a:pt x="596" y="1336"/>
                    <a:pt x="383" y="1122"/>
                    <a:pt x="383" y="860"/>
                  </a:cubicBezTo>
                  <a:cubicBezTo>
                    <a:pt x="383" y="596"/>
                    <a:pt x="596" y="384"/>
                    <a:pt x="859" y="384"/>
                  </a:cubicBezTo>
                  <a:cubicBezTo>
                    <a:pt x="859" y="714"/>
                    <a:pt x="859" y="714"/>
                    <a:pt x="859" y="714"/>
                  </a:cubicBezTo>
                  <a:cubicBezTo>
                    <a:pt x="1370" y="169"/>
                    <a:pt x="1370" y="169"/>
                    <a:pt x="1370" y="169"/>
                  </a:cubicBezTo>
                  <a:cubicBezTo>
                    <a:pt x="1227" y="63"/>
                    <a:pt x="1051" y="0"/>
                    <a:pt x="859" y="0"/>
                  </a:cubicBezTo>
                  <a:cubicBezTo>
                    <a:pt x="385" y="0"/>
                    <a:pt x="0" y="385"/>
                    <a:pt x="0" y="860"/>
                  </a:cubicBezTo>
                  <a:cubicBezTo>
                    <a:pt x="0" y="1334"/>
                    <a:pt x="385" y="1719"/>
                    <a:pt x="859" y="1719"/>
                  </a:cubicBezTo>
                  <a:cubicBezTo>
                    <a:pt x="1035" y="1719"/>
                    <a:pt x="1199" y="1666"/>
                    <a:pt x="1335" y="1575"/>
                  </a:cubicBezTo>
                  <a:lnTo>
                    <a:pt x="859" y="10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3A9F57D5-85B5-48AC-ABAF-7AD1D74E8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3" y="1854"/>
              <a:ext cx="491" cy="612"/>
            </a:xfrm>
            <a:custGeom>
              <a:avLst/>
              <a:gdLst>
                <a:gd name="T0" fmla="*/ 634 w 786"/>
                <a:gd name="T1" fmla="*/ 0 h 979"/>
                <a:gd name="T2" fmla="*/ 0 w 786"/>
                <a:gd name="T3" fmla="*/ 490 h 979"/>
                <a:gd name="T4" fmla="*/ 634 w 786"/>
                <a:gd name="T5" fmla="*/ 979 h 979"/>
                <a:gd name="T6" fmla="*/ 786 w 786"/>
                <a:gd name="T7" fmla="*/ 490 h 979"/>
                <a:gd name="T8" fmla="*/ 634 w 786"/>
                <a:gd name="T9" fmla="*/ 0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6" h="979">
                  <a:moveTo>
                    <a:pt x="634" y="0"/>
                  </a:moveTo>
                  <a:cubicBezTo>
                    <a:pt x="0" y="490"/>
                    <a:pt x="0" y="490"/>
                    <a:pt x="0" y="490"/>
                  </a:cubicBezTo>
                  <a:cubicBezTo>
                    <a:pt x="634" y="979"/>
                    <a:pt x="634" y="979"/>
                    <a:pt x="634" y="979"/>
                  </a:cubicBezTo>
                  <a:cubicBezTo>
                    <a:pt x="730" y="840"/>
                    <a:pt x="786" y="671"/>
                    <a:pt x="786" y="490"/>
                  </a:cubicBezTo>
                  <a:cubicBezTo>
                    <a:pt x="786" y="308"/>
                    <a:pt x="730" y="139"/>
                    <a:pt x="63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9929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</p:sldLayoutIdLst>
  <p:transition>
    <p:fade/>
  </p:transition>
  <p:hf hdr="0" dt="0"/>
  <p:txStyles>
    <p:titleStyle>
      <a:lvl1pPr algn="l" defTabSz="1042512" rtl="0" eaLnBrk="1" latinLnBrk="0" hangingPunct="1">
        <a:lnSpc>
          <a:spcPct val="100000"/>
        </a:lnSpc>
        <a:spcBef>
          <a:spcPct val="0"/>
        </a:spcBef>
        <a:buNone/>
        <a:defRPr sz="2400" b="0" kern="1200">
          <a:solidFill>
            <a:schemeClr val="tx1"/>
          </a:solidFill>
          <a:latin typeface="Open Sans SemiBold" panose="020B0706030804020204" pitchFamily="34" charset="0"/>
          <a:ea typeface="Open Sans SemiBold" panose="020B0706030804020204" pitchFamily="34" charset="0"/>
          <a:cs typeface="Open Sans SemiBold" panose="020B0706030804020204" pitchFamily="34" charset="0"/>
        </a:defRPr>
      </a:lvl1pPr>
    </p:titleStyle>
    <p:bodyStyle>
      <a:lvl1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417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Open Sans SemiBold" panose="020B0706030804020204" pitchFamily="34" charset="0"/>
          <a:ea typeface="Open Sans SemiBold" panose="020B0706030804020204" pitchFamily="34" charset="0"/>
          <a:cs typeface="Open Sans SemiBold" panose="020B0706030804020204" pitchFamily="34" charset="0"/>
        </a:defRPr>
      </a:lvl2pPr>
      <a:lvl3pPr marL="0" indent="0" algn="l" defTabSz="1042512" rtl="0" eaLnBrk="1" latinLnBrk="0" hangingPunct="1">
        <a:lnSpc>
          <a:spcPct val="90000"/>
        </a:lnSpc>
        <a:spcBef>
          <a:spcPts val="0"/>
        </a:spcBef>
        <a:spcAft>
          <a:spcPts val="1417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Open Sans SemiBold" panose="020B0706030804020204" pitchFamily="34" charset="0"/>
          <a:ea typeface="Open Sans SemiBold" panose="020B0706030804020204" pitchFamily="34" charset="0"/>
          <a:cs typeface="Open Sans SemiBold" panose="020B0706030804020204" pitchFamily="34" charset="0"/>
        </a:defRPr>
      </a:lvl3pPr>
      <a:lvl4pPr marL="290427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85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80854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85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871281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85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161708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85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52133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85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742562" indent="-290427" algn="l" defTabSz="1042512" rtl="0" eaLnBrk="1" latinLnBrk="0" hangingPunct="1">
        <a:lnSpc>
          <a:spcPct val="90000"/>
        </a:lnSpc>
        <a:spcBef>
          <a:spcPts val="0"/>
        </a:spcBef>
        <a:spcAft>
          <a:spcPts val="85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1pPr>
      <a:lvl2pPr marL="521258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2pPr>
      <a:lvl3pPr marL="1042512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3pPr>
      <a:lvl4pPr marL="156377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4pPr>
      <a:lvl5pPr marL="2085031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5pPr>
      <a:lvl6pPr marL="2606285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6pPr>
      <a:lvl7pPr marL="312754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7pPr>
      <a:lvl8pPr marL="3648803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8pPr>
      <a:lvl9pPr marL="4170060" algn="l" defTabSz="1042512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2880">
          <p15:clr>
            <a:srgbClr val="F26B43"/>
          </p15:clr>
        </p15:guide>
        <p15:guide id="3" pos="195">
          <p15:clr>
            <a:srgbClr val="F26B43"/>
          </p15:clr>
        </p15:guide>
        <p15:guide id="4" pos="5565">
          <p15:clr>
            <a:srgbClr val="F26B43"/>
          </p15:clr>
        </p15:guide>
        <p15:guide id="5" orient="horz" pos="259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orient="horz" pos="3989">
          <p15:clr>
            <a:srgbClr val="F26B43"/>
          </p15:clr>
        </p15:guide>
        <p15:guide id="8" orient="horz" pos="379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4"/>
            </p:custDataLst>
          </p:nvPr>
        </p:nvGraphicFramePr>
        <p:xfrm>
          <a:off x="1591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1" y="1"/>
            <a:ext cx="158750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E8F7B30E-EA8B-493C-86DB-F82608FA4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7" y="508000"/>
            <a:ext cx="7523937" cy="93133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04827" y="6512607"/>
            <a:ext cx="718767" cy="1439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33">
                <a:solidFill>
                  <a:srgbClr val="000000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48069" y="6512607"/>
            <a:ext cx="3910151" cy="1439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33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1" y="6485814"/>
            <a:ext cx="199973" cy="2002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6" y="1623485"/>
            <a:ext cx="8135939" cy="4614333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431370B-EFAB-4640-9F22-CF9BA69C2714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0763" y="300341"/>
            <a:ext cx="480000" cy="609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041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57" r:id="rId30"/>
    <p:sldLayoutId id="2147483758" r:id="rId31"/>
  </p:sldLayoutIdLst>
  <p:hf hdr="0"/>
  <p:txStyles>
    <p:titleStyle>
      <a:lvl1pPr algn="l" defTabSz="1219139" rtl="0" eaLnBrk="1" latinLnBrk="0" hangingPunct="1">
        <a:lnSpc>
          <a:spcPct val="100000"/>
        </a:lnSpc>
        <a:spcBef>
          <a:spcPct val="0"/>
        </a:spcBef>
        <a:buNone/>
        <a:defRPr lang="en-US" sz="3200" kern="120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895" indent="-21589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426709" indent="-18287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73010" indent="-143930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92460" indent="-18287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935543" indent="-143930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000000"/>
          </p15:clr>
        </p15:guide>
        <p15:guide id="2" pos="5443">
          <p15:clr>
            <a:srgbClr val="000000"/>
          </p15:clr>
        </p15:guide>
        <p15:guide id="3" pos="5057">
          <p15:clr>
            <a:srgbClr val="000000"/>
          </p15:clr>
        </p15:guide>
        <p15:guide id="4" orient="horz" pos="316">
          <p15:clr>
            <a:srgbClr val="000000"/>
          </p15:clr>
        </p15:guide>
        <p15:guide id="5" orient="horz" pos="920">
          <p15:clr>
            <a:srgbClr val="000000"/>
          </p15:clr>
        </p15:guide>
        <p15:guide id="6" orient="horz" pos="1011">
          <p15:clr>
            <a:srgbClr val="000000"/>
          </p15:clr>
        </p15:guide>
        <p15:guide id="7" orient="horz" pos="3944">
          <p15:clr>
            <a:srgbClr val="000000"/>
          </p15:clr>
        </p15:guide>
        <p15:guide id="8" pos="3039">
          <p15:clr>
            <a:srgbClr val="000000"/>
          </p15:clr>
        </p15:guide>
        <p15:guide id="10" pos="2880">
          <p15:clr>
            <a:srgbClr val="000000"/>
          </p15:clr>
        </p15:guide>
        <p15:guide id="11" pos="272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6.png"/><Relationship Id="rId5" Type="http://schemas.openxmlformats.org/officeDocument/2006/relationships/image" Target="../media/image32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E592458-BA23-4431-978A-292DA5DBC22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86" r="886"/>
          <a:stretch/>
        </p:blipFill>
        <p:spPr>
          <a:xfrm>
            <a:off x="2177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58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848726A-6186-4E01-9BBD-2F9D4F72B8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3" y="1676401"/>
            <a:ext cx="8031125" cy="51816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381000" y="304800"/>
            <a:ext cx="3505200" cy="8382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High / Open Ceil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41600" y="914400"/>
            <a:ext cx="3906600" cy="914400"/>
          </a:xfrm>
        </p:spPr>
        <p:txBody>
          <a:bodyPr/>
          <a:lstStyle/>
          <a:p>
            <a:r>
              <a:rPr lang="en-US" dirty="0"/>
              <a:t>25% fewer fixtures</a:t>
            </a:r>
          </a:p>
          <a:p>
            <a:r>
              <a:rPr lang="en-US" dirty="0"/>
              <a:t>35% energy savings</a:t>
            </a:r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0381" y="6515100"/>
            <a:ext cx="6093619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4655692"/>
            <a:ext cx="1828800" cy="1859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6DAE27D-046F-4463-BAE6-067F1EBA11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1067" y="0"/>
            <a:ext cx="5362933" cy="152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9193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764383" y="1112168"/>
            <a:ext cx="1200150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tx2"/>
                </a:solidFill>
              </a:rPr>
              <a:t>FloatPlane</a:t>
            </a:r>
            <a:r>
              <a:rPr lang="en-US" dirty="0">
                <a:solidFill>
                  <a:schemeClr val="tx2"/>
                </a:solidFill>
              </a:rPr>
              <a:t> Certification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828673" y="1524000"/>
            <a:ext cx="7019927" cy="4407600"/>
          </a:xfrm>
        </p:spPr>
        <p:txBody>
          <a:bodyPr/>
          <a:lstStyle/>
          <a:p>
            <a:r>
              <a:rPr lang="en-US" sz="2000" dirty="0"/>
              <a:t>Design Lights Consortium Standard and Premium </a:t>
            </a:r>
          </a:p>
          <a:p>
            <a:pPr lvl="1"/>
            <a:r>
              <a:rPr lang="en-US" sz="1800" i="1" dirty="0"/>
              <a:t>(coming end of October 2019, suspended models only)</a:t>
            </a:r>
          </a:p>
          <a:p>
            <a:pPr marL="285750" indent="-285750"/>
            <a:endParaRPr lang="en-US" sz="2000" dirty="0"/>
          </a:p>
          <a:p>
            <a:pPr marL="285750" indent="-285750"/>
            <a:r>
              <a:rPr lang="en-US" sz="2000" dirty="0"/>
              <a:t>IESNA LM-79 and LM-80 tested</a:t>
            </a:r>
          </a:p>
          <a:p>
            <a:pPr marL="0" indent="0">
              <a:buNone/>
            </a:pPr>
            <a:endParaRPr lang="en-US" sz="2000" dirty="0"/>
          </a:p>
          <a:p>
            <a:pPr marL="285750" indent="-285750"/>
            <a:r>
              <a:rPr lang="en-US" sz="2000" dirty="0"/>
              <a:t>Lumen Maintenance</a:t>
            </a:r>
          </a:p>
          <a:p>
            <a:pPr marL="501750" lvl="1" indent="-285750"/>
            <a:r>
              <a:rPr lang="en-US" sz="2400" i="1" dirty="0"/>
              <a:t>According to IES TM-21-11</a:t>
            </a:r>
          </a:p>
          <a:p>
            <a:pPr marL="501750" lvl="1" indent="-285750"/>
            <a:r>
              <a:rPr lang="en-US" sz="1800" dirty="0"/>
              <a:t>Reported Method</a:t>
            </a:r>
          </a:p>
          <a:p>
            <a:pPr marL="717750" lvl="2" indent="-285750"/>
            <a:r>
              <a:rPr lang="en-US" sz="1600" dirty="0"/>
              <a:t>L</a:t>
            </a:r>
            <a:r>
              <a:rPr lang="en-US" sz="1600" baseline="-25000" dirty="0"/>
              <a:t>90</a:t>
            </a:r>
            <a:r>
              <a:rPr lang="en-US" sz="1600" dirty="0"/>
              <a:t> (10k) 58,000 </a:t>
            </a:r>
            <a:r>
              <a:rPr lang="en-US" sz="1600" dirty="0" err="1"/>
              <a:t>hrs</a:t>
            </a:r>
            <a:endParaRPr lang="en-US" sz="1600" dirty="0"/>
          </a:p>
          <a:p>
            <a:pPr marL="501750" lvl="1" indent="-285750"/>
            <a:r>
              <a:rPr lang="en-US" sz="1800" dirty="0"/>
              <a:t>Projected Method</a:t>
            </a:r>
          </a:p>
          <a:p>
            <a:pPr marL="717750" lvl="2" indent="-285750"/>
            <a:r>
              <a:rPr lang="en-US" sz="1600" dirty="0"/>
              <a:t>L</a:t>
            </a:r>
            <a:r>
              <a:rPr lang="en-US" sz="1600" baseline="-25000" dirty="0"/>
              <a:t>80</a:t>
            </a:r>
            <a:r>
              <a:rPr lang="en-US" sz="1600" dirty="0"/>
              <a:t> (10k) 116,000 </a:t>
            </a:r>
            <a:r>
              <a:rPr lang="en-US" sz="1600" dirty="0" err="1"/>
              <a:t>hrs</a:t>
            </a:r>
            <a:endParaRPr lang="en-US" sz="16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765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6323594" y="457200"/>
            <a:ext cx="2363206" cy="609600"/>
          </a:xfrm>
        </p:spPr>
        <p:txBody>
          <a:bodyPr/>
          <a:lstStyle/>
          <a:p>
            <a:pPr algn="r"/>
            <a:r>
              <a:rPr lang="en-US" dirty="0">
                <a:solidFill>
                  <a:schemeClr val="tx2"/>
                </a:solidFill>
              </a:rPr>
              <a:t>Modules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279969"/>
            <a:ext cx="6096000" cy="2920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53" y="3505200"/>
            <a:ext cx="6048191" cy="312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171194" y="1905000"/>
            <a:ext cx="1935530" cy="4084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Edge Suspended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323594" y="5067300"/>
            <a:ext cx="1337610" cy="4084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Curve Wall</a:t>
            </a:r>
          </a:p>
        </p:txBody>
      </p:sp>
    </p:spTree>
    <p:extLst>
      <p:ext uri="{BB962C8B-B14F-4D97-AF65-F5344CB8AC3E}">
        <p14:creationId xmlns:p14="http://schemas.microsoft.com/office/powerpoint/2010/main" val="41703495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228600" y="152400"/>
            <a:ext cx="7488000" cy="512768"/>
          </a:xfrm>
        </p:spPr>
        <p:txBody>
          <a:bodyPr/>
          <a:lstStyle/>
          <a:p>
            <a:r>
              <a:rPr lang="en-US" dirty="0" err="1">
                <a:solidFill>
                  <a:schemeClr val="tx2"/>
                </a:solidFill>
              </a:rPr>
              <a:t>FloatPlane</a:t>
            </a:r>
            <a:r>
              <a:rPr lang="en-US" dirty="0">
                <a:solidFill>
                  <a:schemeClr val="tx2"/>
                </a:solidFill>
              </a:rPr>
              <a:t> Order Guid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92DE827-7449-4DB8-AD91-1F4AFEFB4C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264" y="754375"/>
            <a:ext cx="7676335" cy="301542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C9C75C5-0627-4E73-8A23-B83BC97D70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264" y="3352800"/>
            <a:ext cx="5529943" cy="3012757"/>
          </a:xfrm>
          <a:prstGeom prst="rect">
            <a:avLst/>
          </a:prstGeom>
        </p:spPr>
      </p:pic>
      <p:sp>
        <p:nvSpPr>
          <p:cNvPr id="9" name="Rectangular Callout 8"/>
          <p:cNvSpPr/>
          <p:nvPr/>
        </p:nvSpPr>
        <p:spPr>
          <a:xfrm>
            <a:off x="6896099" y="5029200"/>
            <a:ext cx="1905000" cy="762000"/>
          </a:xfrm>
          <a:prstGeom prst="wedgeRectCallout">
            <a:avLst>
              <a:gd name="adj1" fmla="val -124549"/>
              <a:gd name="adj2" fmla="val -132657"/>
            </a:avLst>
          </a:prstGeom>
          <a:solidFill>
            <a:schemeClr val="accent3">
              <a:lumMod val="20000"/>
              <a:lumOff val="80000"/>
            </a:schemeClr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r>
              <a:rPr lang="en-US" sz="1600" dirty="0">
                <a:solidFill>
                  <a:schemeClr val="tx2"/>
                </a:solidFill>
              </a:rPr>
              <a:t>Sensors + Controls available in Suspended versions</a:t>
            </a:r>
          </a:p>
        </p:txBody>
      </p:sp>
    </p:spTree>
    <p:extLst>
      <p:ext uri="{BB962C8B-B14F-4D97-AF65-F5344CB8AC3E}">
        <p14:creationId xmlns:p14="http://schemas.microsoft.com/office/powerpoint/2010/main" val="22251716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278437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8600" y="152400"/>
            <a:ext cx="7488000" cy="578768"/>
          </a:xfrm>
        </p:spPr>
        <p:txBody>
          <a:bodyPr/>
          <a:lstStyle/>
          <a:p>
            <a:r>
              <a:rPr lang="en-US" dirty="0" err="1">
                <a:solidFill>
                  <a:schemeClr val="tx2"/>
                </a:solidFill>
              </a:rPr>
              <a:t>FloatPlane</a:t>
            </a:r>
            <a:r>
              <a:rPr lang="en-US" dirty="0">
                <a:solidFill>
                  <a:schemeClr val="tx2"/>
                </a:solidFill>
              </a:rPr>
              <a:t> Versions &amp; Finishes</a:t>
            </a:r>
          </a:p>
        </p:txBody>
      </p:sp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883568"/>
            <a:ext cx="6705600" cy="5723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17A6C7D-E3F1-44CE-AEAA-72DFA727F9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8090" y="0"/>
            <a:ext cx="21790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8130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33400" y="411832"/>
            <a:ext cx="7488000" cy="578768"/>
          </a:xfrm>
        </p:spPr>
        <p:txBody>
          <a:bodyPr lIns="0" tIns="0" rIns="0" bIns="0">
            <a:noAutofit/>
          </a:bodyPr>
          <a:lstStyle/>
          <a:p>
            <a:r>
              <a:rPr lang="en-US" sz="2800" dirty="0">
                <a:solidFill>
                  <a:schemeClr val="tx2"/>
                </a:solidFill>
              </a:rPr>
              <a:t>FloatPlane </a:t>
            </a:r>
            <a:r>
              <a:rPr lang="en-US" sz="2800" dirty="0">
                <a:solidFill>
                  <a:schemeClr val="accent3"/>
                </a:solidFill>
              </a:rPr>
              <a:t>Suspended</a:t>
            </a:r>
            <a:r>
              <a:rPr lang="en-US" sz="2800" dirty="0">
                <a:solidFill>
                  <a:schemeClr val="tx2"/>
                </a:solidFill>
              </a:rPr>
              <a:t> – Excellent Performan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856555" y="3281725"/>
            <a:ext cx="1875513" cy="307777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70% Up (147 LPW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956639" y="3281725"/>
            <a:ext cx="1779333" cy="307777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45% Down (134 LPW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960540" y="3281725"/>
            <a:ext cx="1875513" cy="307777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75% Down (117 LPW)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540" y="2445013"/>
            <a:ext cx="2159171" cy="198119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C2CBBCC-B27C-4CC9-A4CD-7636067542E2}"/>
              </a:ext>
            </a:extLst>
          </p:cNvPr>
          <p:cNvSpPr txBox="1"/>
          <p:nvPr/>
        </p:nvSpPr>
        <p:spPr>
          <a:xfrm>
            <a:off x="2856555" y="5758360"/>
            <a:ext cx="1875513" cy="307777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90% Down (111 LPW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BA489B-9382-4DCD-96D4-FC05E8EB3008}"/>
              </a:ext>
            </a:extLst>
          </p:cNvPr>
          <p:cNvSpPr txBox="1"/>
          <p:nvPr/>
        </p:nvSpPr>
        <p:spPr>
          <a:xfrm>
            <a:off x="4910955" y="5758360"/>
            <a:ext cx="1870705" cy="307777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100% Down (107 LPW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1A4F6-E75B-4C67-AE21-66058FB314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1712" y="1179486"/>
            <a:ext cx="2018006" cy="202318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6F4DC52-2DFE-4DB5-BBF0-5BC90E4111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34869" y="1174993"/>
            <a:ext cx="1975285" cy="203216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D1447FB-25B4-4539-A7F4-24F5477FE8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23893" y="1170502"/>
            <a:ext cx="2037761" cy="2027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E86182C-B89B-40C7-AB26-6D3D5E2FCC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59355" y="3725057"/>
            <a:ext cx="1875514" cy="195345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1E2D15A-1E73-4DDC-BF10-473B902AF0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30515" y="3679757"/>
            <a:ext cx="2007970" cy="2023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2190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33400" y="411832"/>
            <a:ext cx="7488000" cy="578768"/>
          </a:xfrm>
          <a:noFill/>
        </p:spPr>
        <p:txBody>
          <a:bodyPr lIns="0" tIns="0" rIns="0" bIns="0">
            <a:noAutofit/>
          </a:bodyPr>
          <a:lstStyle/>
          <a:p>
            <a:r>
              <a:rPr lang="en-US" sz="2800" dirty="0">
                <a:solidFill>
                  <a:schemeClr val="tx2"/>
                </a:solidFill>
              </a:rPr>
              <a:t>FloatPlane </a:t>
            </a:r>
            <a:r>
              <a:rPr lang="en-US" sz="2800" dirty="0">
                <a:solidFill>
                  <a:schemeClr val="accent3"/>
                </a:solidFill>
              </a:rPr>
              <a:t>Wall</a:t>
            </a:r>
            <a:r>
              <a:rPr lang="en-US" sz="2800" dirty="0">
                <a:solidFill>
                  <a:schemeClr val="tx2"/>
                </a:solidFill>
              </a:rPr>
              <a:t> – Excellent Performan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856555" y="3281725"/>
            <a:ext cx="1875513" cy="307777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70% Up (134 LPW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956639" y="3281725"/>
            <a:ext cx="1779334" cy="307777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45% Down (122 LPW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960540" y="3281725"/>
            <a:ext cx="1875513" cy="307777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75% Down (106 LPW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C2CBBCC-B27C-4CC9-A4CD-7636067542E2}"/>
              </a:ext>
            </a:extLst>
          </p:cNvPr>
          <p:cNvSpPr txBox="1"/>
          <p:nvPr/>
        </p:nvSpPr>
        <p:spPr>
          <a:xfrm>
            <a:off x="2856555" y="5758360"/>
            <a:ext cx="1875513" cy="307777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90% Down (102 LPW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BA489B-9382-4DCD-96D4-FC05E8EB3008}"/>
              </a:ext>
            </a:extLst>
          </p:cNvPr>
          <p:cNvSpPr txBox="1"/>
          <p:nvPr/>
        </p:nvSpPr>
        <p:spPr>
          <a:xfrm>
            <a:off x="4956641" y="5758360"/>
            <a:ext cx="1779334" cy="307777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100% Down (98 LPW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78EAF7-5C8A-45C7-847F-4B69F9AF92B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401" y="2271198"/>
            <a:ext cx="2192913" cy="20210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8AB823B-304D-4ADB-ACCA-D4129FFC4B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0429" y="1196799"/>
            <a:ext cx="2001658" cy="202105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12F6E37-06DC-48B3-8BCE-5D82B8F940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99389" y="1171998"/>
            <a:ext cx="1993848" cy="202105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FCF474A-44AB-49A8-B94C-2E9CDE3CF1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0540" y="1140930"/>
            <a:ext cx="1993848" cy="207265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1F09C7E-59BA-47DF-8005-2A84210ADF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21224" y="3657459"/>
            <a:ext cx="2035757" cy="210090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F78BC7D-D84A-457E-90BA-1E670B6695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27881" y="3704300"/>
            <a:ext cx="1992217" cy="2054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4963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O:\Marketing\Shared\Released for Web\FloatPlane Launch\LedaliteWeb_FloatPlane\FloatPlane_Edge_Titanium_Flying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562600" y="181112"/>
            <a:ext cx="3352800" cy="2931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FloatPlane Key Featur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28673" y="1371600"/>
            <a:ext cx="7488000" cy="4800600"/>
          </a:xfrm>
        </p:spPr>
        <p:txBody>
          <a:bodyPr>
            <a:normAutofit/>
          </a:bodyPr>
          <a:lstStyle/>
          <a:p>
            <a:pPr lvl="0">
              <a:lnSpc>
                <a:spcPct val="115000"/>
              </a:lnSpc>
              <a:spcAft>
                <a:spcPts val="100"/>
              </a:spcAft>
            </a:pPr>
            <a:r>
              <a:rPr lang="en-US" sz="1600" b="1" dirty="0">
                <a:latin typeface="Signify Relative Bold" panose="02000806030000020004"/>
              </a:rPr>
              <a:t>Sleek, Sporty Design </a:t>
            </a:r>
          </a:p>
          <a:p>
            <a:pPr lvl="1">
              <a:lnSpc>
                <a:spcPct val="115000"/>
              </a:lnSpc>
              <a:spcAft>
                <a:spcPts val="100"/>
              </a:spcAft>
            </a:pPr>
            <a:r>
              <a:rPr lang="en-US" sz="1400" dirty="0">
                <a:latin typeface="Signify Relative Bold" panose="02000806030000020004"/>
              </a:rPr>
              <a:t>Edge (squared) &amp; Curve (rounded)</a:t>
            </a:r>
          </a:p>
          <a:p>
            <a:pPr lvl="1">
              <a:lnSpc>
                <a:spcPct val="115000"/>
              </a:lnSpc>
              <a:spcAft>
                <a:spcPts val="100"/>
              </a:spcAft>
            </a:pPr>
            <a:r>
              <a:rPr lang="en-US" sz="1400" dirty="0">
                <a:latin typeface="Signify Relative Bold" panose="02000806030000020004"/>
              </a:rPr>
              <a:t>Dual windows, smooth luminance</a:t>
            </a:r>
          </a:p>
          <a:p>
            <a:pPr lvl="1">
              <a:lnSpc>
                <a:spcPct val="115000"/>
              </a:lnSpc>
              <a:spcAft>
                <a:spcPts val="100"/>
              </a:spcAft>
            </a:pPr>
            <a:r>
              <a:rPr lang="en-US" sz="1400" dirty="0">
                <a:latin typeface="Signify Relative Bold" panose="02000806030000020004"/>
              </a:rPr>
              <a:t>1.2” tall x 8” wide</a:t>
            </a:r>
          </a:p>
          <a:p>
            <a:pPr>
              <a:lnSpc>
                <a:spcPct val="115000"/>
              </a:lnSpc>
              <a:spcAft>
                <a:spcPts val="100"/>
              </a:spcAft>
            </a:pPr>
            <a:r>
              <a:rPr lang="en-US" sz="1600" b="1" dirty="0">
                <a:latin typeface="Signify Relative Bold" panose="02000806030000020004"/>
              </a:rPr>
              <a:t>Right Price</a:t>
            </a:r>
          </a:p>
          <a:p>
            <a:pPr lvl="1">
              <a:lnSpc>
                <a:spcPct val="115000"/>
              </a:lnSpc>
              <a:spcAft>
                <a:spcPts val="100"/>
              </a:spcAft>
            </a:pPr>
            <a:r>
              <a:rPr lang="en-US" sz="1400" dirty="0">
                <a:latin typeface="Signify Relative Bold" panose="02000806030000020004"/>
              </a:rPr>
              <a:t>25% lower than Ledalite LED linear light-guide products</a:t>
            </a:r>
          </a:p>
          <a:p>
            <a:pPr lvl="1">
              <a:lnSpc>
                <a:spcPct val="115000"/>
              </a:lnSpc>
              <a:spcAft>
                <a:spcPts val="100"/>
              </a:spcAft>
            </a:pPr>
            <a:r>
              <a:rPr lang="en-US" sz="1400" dirty="0">
                <a:latin typeface="Signify Relative Bold" panose="02000806030000020004"/>
              </a:rPr>
              <a:t>Lower than fluorescent linear performance e.g. Sync</a:t>
            </a:r>
          </a:p>
          <a:p>
            <a:pPr>
              <a:lnSpc>
                <a:spcPct val="115000"/>
              </a:lnSpc>
              <a:spcAft>
                <a:spcPts val="100"/>
              </a:spcAft>
            </a:pPr>
            <a:r>
              <a:rPr lang="en-US" sz="1600" b="1" dirty="0">
                <a:latin typeface="Signify Relative Bold" panose="02000806030000020004"/>
              </a:rPr>
              <a:t>Great Performance</a:t>
            </a:r>
          </a:p>
          <a:p>
            <a:pPr lvl="1">
              <a:lnSpc>
                <a:spcPct val="115000"/>
              </a:lnSpc>
              <a:spcAft>
                <a:spcPts val="100"/>
              </a:spcAft>
            </a:pPr>
            <a:r>
              <a:rPr lang="en-US" sz="1400" dirty="0">
                <a:latin typeface="Signify Relative Bold" panose="02000806030000020004"/>
              </a:rPr>
              <a:t>Wide throw upper batwing distribution</a:t>
            </a:r>
          </a:p>
          <a:p>
            <a:pPr lvl="1">
              <a:lnSpc>
                <a:spcPct val="115000"/>
              </a:lnSpc>
              <a:spcAft>
                <a:spcPts val="100"/>
              </a:spcAft>
            </a:pPr>
            <a:r>
              <a:rPr lang="en-US" sz="1400" dirty="0">
                <a:latin typeface="Signify Relative Bold" panose="02000806030000020004"/>
              </a:rPr>
              <a:t>Smooth, controlled brightness in lower lens</a:t>
            </a:r>
          </a:p>
          <a:p>
            <a:pPr lvl="1">
              <a:lnSpc>
                <a:spcPct val="115000"/>
              </a:lnSpc>
              <a:spcAft>
                <a:spcPts val="100"/>
              </a:spcAft>
            </a:pPr>
            <a:r>
              <a:rPr lang="en-US" sz="1400" dirty="0">
                <a:latin typeface="Signify Relative Bold" panose="02000806030000020004"/>
              </a:rPr>
              <a:t>Suspended: Up to 147 LPW, Wall: Up to 134 LPW</a:t>
            </a:r>
          </a:p>
          <a:p>
            <a:pPr lvl="1">
              <a:lnSpc>
                <a:spcPct val="115000"/>
              </a:lnSpc>
              <a:spcAft>
                <a:spcPts val="100"/>
              </a:spcAft>
            </a:pPr>
            <a:r>
              <a:rPr lang="en-US" sz="1400" dirty="0">
                <a:latin typeface="Signify Relative Bold" panose="02000806030000020004"/>
              </a:rPr>
              <a:t>Design Lights Consortium (DLC) listed</a:t>
            </a:r>
          </a:p>
          <a:p>
            <a:pPr>
              <a:lnSpc>
                <a:spcPct val="115000"/>
              </a:lnSpc>
              <a:spcAft>
                <a:spcPts val="100"/>
              </a:spcAft>
            </a:pPr>
            <a:r>
              <a:rPr lang="en-US" sz="1600" b="1" dirty="0">
                <a:latin typeface="Signify Relative Bold" panose="02000806030000020004"/>
              </a:rPr>
              <a:t>Fast to Install</a:t>
            </a:r>
          </a:p>
          <a:p>
            <a:pPr lvl="1">
              <a:lnSpc>
                <a:spcPct val="115000"/>
              </a:lnSpc>
              <a:spcAft>
                <a:spcPts val="100"/>
              </a:spcAft>
            </a:pPr>
            <a:r>
              <a:rPr lang="en-US" sz="1400" dirty="0">
                <a:latin typeface="Signify Relative Bold" panose="02000806030000020004"/>
              </a:rPr>
              <a:t>Suspended sling mount</a:t>
            </a:r>
          </a:p>
          <a:p>
            <a:pPr lvl="1">
              <a:lnSpc>
                <a:spcPct val="115000"/>
              </a:lnSpc>
              <a:spcAft>
                <a:spcPts val="100"/>
              </a:spcAft>
            </a:pPr>
            <a:r>
              <a:rPr lang="en-US" sz="1400" dirty="0">
                <a:latin typeface="Signify Relative Bold" panose="02000806030000020004"/>
              </a:rPr>
              <a:t>Wiring access panel</a:t>
            </a:r>
          </a:p>
          <a:p>
            <a:pPr lvl="1">
              <a:lnSpc>
                <a:spcPct val="115000"/>
              </a:lnSpc>
              <a:spcAft>
                <a:spcPts val="100"/>
              </a:spcAft>
            </a:pPr>
            <a:r>
              <a:rPr lang="en-US" sz="1400" dirty="0">
                <a:latin typeface="Signify Relative Bold" panose="02000806030000020004"/>
              </a:rPr>
              <a:t>Variable wall mount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2787" y="3452813"/>
            <a:ext cx="1547813" cy="1500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648200" y="5370493"/>
            <a:ext cx="2686169" cy="95410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Actual contractor comment:</a:t>
            </a:r>
          </a:p>
          <a:p>
            <a:r>
              <a:rPr lang="en-US" sz="1400" i="1" dirty="0"/>
              <a:t>“</a:t>
            </a:r>
            <a:r>
              <a:rPr lang="en-US" sz="1400" i="1" dirty="0" err="1"/>
              <a:t>FloatPlane</a:t>
            </a:r>
            <a:r>
              <a:rPr lang="en-US" sz="1400" i="1" dirty="0"/>
              <a:t> is by far the easiest to install linear suspended luminaire that I’ve come across.”</a:t>
            </a:r>
          </a:p>
        </p:txBody>
      </p:sp>
    </p:spTree>
    <p:extLst>
      <p:ext uri="{BB962C8B-B14F-4D97-AF65-F5344CB8AC3E}">
        <p14:creationId xmlns:p14="http://schemas.microsoft.com/office/powerpoint/2010/main" val="38574850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04800" y="381000"/>
            <a:ext cx="7488000" cy="578768"/>
          </a:xfrm>
        </p:spPr>
        <p:txBody>
          <a:bodyPr/>
          <a:lstStyle/>
          <a:p>
            <a:r>
              <a:rPr lang="en-US" dirty="0" err="1">
                <a:solidFill>
                  <a:schemeClr val="tx2"/>
                </a:solidFill>
              </a:rPr>
              <a:t>FloatPlane</a:t>
            </a:r>
            <a:r>
              <a:rPr lang="en-US" dirty="0">
                <a:solidFill>
                  <a:schemeClr val="tx2"/>
                </a:solidFill>
              </a:rPr>
              <a:t> Application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779011" y="3035943"/>
            <a:ext cx="2255520" cy="3036000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latin typeface="Signify Relative Bold" panose="02000806030000020004"/>
              </a:rPr>
              <a:t>Ideal for:</a:t>
            </a:r>
          </a:p>
          <a:p>
            <a:pPr marL="0" indent="0">
              <a:buNone/>
            </a:pPr>
            <a:endParaRPr lang="en-US" b="1" dirty="0">
              <a:latin typeface="Signify Relative Bold" panose="02000806030000020004"/>
            </a:endParaRPr>
          </a:p>
          <a:p>
            <a:r>
              <a:rPr lang="en-US" b="1" dirty="0">
                <a:latin typeface="Signify Relative Bold" panose="02000806030000020004"/>
              </a:rPr>
              <a:t>Offices</a:t>
            </a:r>
          </a:p>
          <a:p>
            <a:r>
              <a:rPr lang="en-US" b="1" dirty="0">
                <a:latin typeface="Signify Relative Bold" panose="02000806030000020004"/>
              </a:rPr>
              <a:t>Schools</a:t>
            </a:r>
          </a:p>
          <a:p>
            <a:r>
              <a:rPr lang="en-US" b="1" dirty="0">
                <a:latin typeface="Signify Relative Bold" panose="02000806030000020004"/>
              </a:rPr>
              <a:t>Libraries</a:t>
            </a:r>
          </a:p>
          <a:p>
            <a:r>
              <a:rPr lang="en-US" b="1" dirty="0">
                <a:latin typeface="Signify Relative Bold" panose="02000806030000020004"/>
              </a:rPr>
              <a:t>Lobbies</a:t>
            </a:r>
          </a:p>
          <a:p>
            <a:r>
              <a:rPr lang="en-US" b="1" dirty="0">
                <a:latin typeface="Signify Relative Bold" panose="02000806030000020004"/>
              </a:rPr>
              <a:t>Corridors (wall mount)</a:t>
            </a:r>
          </a:p>
          <a:p>
            <a:r>
              <a:rPr lang="en-US" b="1" dirty="0">
                <a:latin typeface="Signify Relative Bold" panose="02000806030000020004"/>
              </a:rPr>
              <a:t>Retail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6" r="4232"/>
          <a:stretch/>
        </p:blipFill>
        <p:spPr bwMode="auto">
          <a:xfrm>
            <a:off x="0" y="1219200"/>
            <a:ext cx="6709809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 descr="O:\Marketing\Shared\Released for Web\FloatPlane Launch\LedaliteWeb_FloatPlane\FloatPlane_Curve_Titanium_End_View.jpg">
            <a:extLst>
              <a:ext uri="{FF2B5EF4-FFF2-40B4-BE49-F238E27FC236}">
                <a16:creationId xmlns:a16="http://schemas.microsoft.com/office/drawing/2014/main" id="{A8DEC1E2-C2C5-4DAD-A264-CC115E4A99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39665" y="37011"/>
            <a:ext cx="2134212" cy="2267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946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O:\Marketing\Shared\Released for Web\FloatPlane Launch\LedaliteWeb_FloatPlane\FloatPlane_Curve_Titanium_End_View.jpg">
            <a:extLst>
              <a:ext uri="{FF2B5EF4-FFF2-40B4-BE49-F238E27FC236}">
                <a16:creationId xmlns:a16="http://schemas.microsoft.com/office/drawing/2014/main" id="{A8DEC1E2-C2C5-4DAD-A264-CC115E4A99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39665" y="37011"/>
            <a:ext cx="2134212" cy="2267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5ED1984-1C1A-4515-9875-7997A1F51D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658933"/>
            <a:ext cx="9144000" cy="355564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A8E25B7-53E0-4705-9DEC-CB2445C1B1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01500" y="169346"/>
            <a:ext cx="3038165" cy="2312150"/>
          </a:xfrm>
          <a:prstGeom prst="rect">
            <a:avLst/>
          </a:prstGeom>
        </p:spPr>
      </p:pic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694ED684-E636-415E-934D-A1C1DE545089}"/>
              </a:ext>
            </a:extLst>
          </p:cNvPr>
          <p:cNvSpPr txBox="1">
            <a:spLocks/>
          </p:cNvSpPr>
          <p:nvPr/>
        </p:nvSpPr>
        <p:spPr>
          <a:xfrm>
            <a:off x="304800" y="381000"/>
            <a:ext cx="7488000" cy="5787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04251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27"/>
              </a:spcAft>
              <a:buFontTx/>
              <a:buNone/>
              <a:defRPr sz="27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4251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27"/>
              </a:spcAft>
              <a:buFont typeface="Arial" panose="020B0604020202020204" pitchFamily="34" charset="0"/>
              <a:buNone/>
              <a:defRPr sz="1597" b="0" kern="1200">
                <a:solidFill>
                  <a:schemeClr val="tx2"/>
                </a:solidFill>
                <a:latin typeface="Signify Relative Bold" panose="02000806030000020004" pitchFamily="50" charset="0"/>
                <a:ea typeface="+mn-ea"/>
                <a:cs typeface="+mn-cs"/>
              </a:defRPr>
            </a:lvl2pPr>
            <a:lvl3pPr marL="0" indent="0" algn="l" defTabSz="104251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27"/>
              </a:spcAft>
              <a:buFont typeface="Arial" panose="020B0604020202020204" pitchFamily="34" charset="0"/>
              <a:buNone/>
              <a:defRPr sz="1597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3pPr>
            <a:lvl4pPr marL="290427" indent="-290427" algn="l" defTabSz="104251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84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80854" indent="-290427" algn="l" defTabSz="104251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84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871281" indent="-290427" algn="l" defTabSz="104251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84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161708" indent="-290427" algn="l" defTabSz="104251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84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452133" indent="-290427" algn="l" defTabSz="104251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84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742562" indent="-290427" algn="l" defTabSz="104251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84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2"/>
                </a:solidFill>
              </a:rPr>
              <a:t>FloatPlane Applications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59772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O:\Marketing\Shared\Released for Web\FloatPlane Launch\LedaliteWeb_FloatPlane\HeinekenOpenOffice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04"/>
          <a:stretch/>
        </p:blipFill>
        <p:spPr bwMode="auto">
          <a:xfrm>
            <a:off x="0" y="1849967"/>
            <a:ext cx="8382000" cy="5008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589200" y="381000"/>
            <a:ext cx="7488000" cy="578768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Offi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09600" y="990600"/>
            <a:ext cx="2667000" cy="1024909"/>
          </a:xfrm>
        </p:spPr>
        <p:txBody>
          <a:bodyPr/>
          <a:lstStyle/>
          <a:p>
            <a:r>
              <a:rPr lang="en-US" dirty="0"/>
              <a:t>20% fewer fixtures</a:t>
            </a:r>
          </a:p>
          <a:p>
            <a:r>
              <a:rPr lang="en-US" dirty="0"/>
              <a:t>40% energy savings</a:t>
            </a: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600" y="6520375"/>
            <a:ext cx="5486400" cy="33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600" y="4843166"/>
            <a:ext cx="1676400" cy="1683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64337-9047-49D5-826D-3D960202F8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35829" y="118174"/>
            <a:ext cx="5464200" cy="1683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5412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xfrm>
            <a:off x="457200" y="381000"/>
            <a:ext cx="7488000" cy="578768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Educ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7200" y="1219201"/>
            <a:ext cx="2667000" cy="533400"/>
          </a:xfrm>
        </p:spPr>
        <p:txBody>
          <a:bodyPr/>
          <a:lstStyle/>
          <a:p>
            <a:r>
              <a:rPr lang="en-US" dirty="0"/>
              <a:t>53% energy savings</a:t>
            </a:r>
          </a:p>
        </p:txBody>
      </p:sp>
      <p:pic>
        <p:nvPicPr>
          <p:cNvPr id="3074" name="Picture 2" descr="O:\Marketing\Shared\Released for Web\FloatPlane Launch\LedaliteWeb_FloatPlane\FloatPlane_Typi-Classroom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752600"/>
            <a:ext cx="7834373" cy="510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800" y="6526352"/>
            <a:ext cx="5428918" cy="331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600" y="4843166"/>
            <a:ext cx="1676400" cy="1683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DF88458-08CF-4EC7-8C9D-5ABFAB6C9E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29000" y="-4354"/>
            <a:ext cx="5715000" cy="1582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30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mNO_54Sa2hlaXD_IEj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hZ.6C_Tu2XwAo0QYSk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hZnkiSTuqlYXlI_Xsp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vyvM2iRHaxZ5i4g7GA.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VFSuEQQups0ulDuF1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0pDCr0Q2Wp2L0wENceh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97NhnRtGIQipb0wENx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q1yE6hRTGv_ga4GbII8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LJhckSGCxmH17d0fWV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EePDZRDCiGs6qA7F.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heme/theme1.xml><?xml version="1.0" encoding="utf-8"?>
<a:theme xmlns:a="http://schemas.openxmlformats.org/drawingml/2006/main" name="Signify PowerPoint Theme">
  <a:themeElements>
    <a:clrScheme name="Signify colour theme">
      <a:dk1>
        <a:sysClr val="windowText" lastClr="000000"/>
      </a:dk1>
      <a:lt1>
        <a:sysClr val="window" lastClr="FFFFFF"/>
      </a:lt1>
      <a:dk2>
        <a:srgbClr val="3C3C41"/>
      </a:dk2>
      <a:lt2>
        <a:srgbClr val="FFFFFF"/>
      </a:lt2>
      <a:accent1>
        <a:srgbClr val="969696"/>
      </a:accent1>
      <a:accent2>
        <a:srgbClr val="D5D5D5"/>
      </a:accent2>
      <a:accent3>
        <a:srgbClr val="00E487"/>
      </a:accent3>
      <a:accent4>
        <a:srgbClr val="66EFB7"/>
      </a:accent4>
      <a:accent5>
        <a:srgbClr val="1432FF"/>
      </a:accent5>
      <a:accent6>
        <a:srgbClr val="A1ADFF"/>
      </a:accent6>
      <a:hlink>
        <a:srgbClr val="0563C1"/>
      </a:hlink>
      <a:folHlink>
        <a:srgbClr val="954F72"/>
      </a:folHlink>
    </a:clrScheme>
    <a:fontScheme name="Signify UPDATED font theme">
      <a:majorFont>
        <a:latin typeface="Signify Raisonne DemiBold"/>
        <a:ea typeface=""/>
        <a:cs typeface=""/>
      </a:majorFont>
      <a:minorFont>
        <a:latin typeface="Signify Relative Book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Aft>
            <a:spcPts val="900"/>
          </a:spcAft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Aft>
            <a:spcPts val="900"/>
          </a:spcAft>
          <a:defRPr sz="18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hilips Multi-Brand template 4_3 Brand Fonts.potx" id="{9DE3F654-0F8A-4B45-A3DA-D003FA893D2F}" vid="{EE63629E-F8FB-4DC5-9C2C-3C3A0C91FC9F}"/>
    </a:ext>
  </a:extLst>
</a:theme>
</file>

<file path=ppt/theme/theme2.xml><?xml version="1.0" encoding="utf-8"?>
<a:theme xmlns:a="http://schemas.openxmlformats.org/drawingml/2006/main" name="Interact PowerPoint Theme">
  <a:themeElements>
    <a:clrScheme name="Interact colour theme">
      <a:dk1>
        <a:sysClr val="windowText" lastClr="000000"/>
      </a:dk1>
      <a:lt1>
        <a:sysClr val="window" lastClr="FFFFFF"/>
      </a:lt1>
      <a:dk2>
        <a:srgbClr val="3C3C41"/>
      </a:dk2>
      <a:lt2>
        <a:srgbClr val="FFFFFF"/>
      </a:lt2>
      <a:accent1>
        <a:srgbClr val="969696"/>
      </a:accent1>
      <a:accent2>
        <a:srgbClr val="D5D5D5"/>
      </a:accent2>
      <a:accent3>
        <a:srgbClr val="FF375F"/>
      </a:accent3>
      <a:accent4>
        <a:srgbClr val="FF879F"/>
      </a:accent4>
      <a:accent5>
        <a:srgbClr val="1432FF"/>
      </a:accent5>
      <a:accent6>
        <a:srgbClr val="A1ADFF"/>
      </a:accent6>
      <a:hlink>
        <a:srgbClr val="0563C1"/>
      </a:hlink>
      <a:folHlink>
        <a:srgbClr val="954F72"/>
      </a:folHlink>
    </a:clrScheme>
    <a:fontScheme name="Interact UPDATED font theme">
      <a:majorFont>
        <a:latin typeface="Signify Relative Faux"/>
        <a:ea typeface=""/>
        <a:cs typeface=""/>
      </a:majorFont>
      <a:minorFont>
        <a:latin typeface="Signify Relative Book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Aft>
            <a:spcPts val="900"/>
          </a:spcAft>
          <a:defRPr sz="18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Aft>
            <a:spcPts val="900"/>
          </a:spcAft>
          <a:defRPr sz="18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hilips Multi-Brand template 4_3 Brand Fonts.potx" id="{9DE3F654-0F8A-4B45-A3DA-D003FA893D2F}" vid="{D06B3306-56F8-429B-8C4E-0B74798A5F01}"/>
    </a:ext>
  </a:extLst>
</a:theme>
</file>

<file path=ppt/theme/theme3.xml><?xml version="1.0" encoding="utf-8"?>
<a:theme xmlns:a="http://schemas.openxmlformats.org/drawingml/2006/main" name="Colour Kinetics PowerPoint Theme">
  <a:themeElements>
    <a:clrScheme name="Custom 1">
      <a:dk1>
        <a:sysClr val="windowText" lastClr="000000"/>
      </a:dk1>
      <a:lt1>
        <a:sysClr val="window" lastClr="FFFFFF"/>
      </a:lt1>
      <a:dk2>
        <a:srgbClr val="00005A"/>
      </a:dk2>
      <a:lt2>
        <a:srgbClr val="2D004B"/>
      </a:lt2>
      <a:accent1>
        <a:srgbClr val="FF557D"/>
      </a:accent1>
      <a:accent2>
        <a:srgbClr val="FFFF28"/>
      </a:accent2>
      <a:accent3>
        <a:srgbClr val="64E1F5"/>
      </a:accent3>
      <a:accent4>
        <a:srgbClr val="FF9600"/>
      </a:accent4>
      <a:accent5>
        <a:srgbClr val="002D2D"/>
      </a:accent5>
      <a:accent6>
        <a:srgbClr val="46001E"/>
      </a:accent6>
      <a:hlink>
        <a:srgbClr val="0563C1"/>
      </a:hlink>
      <a:folHlink>
        <a:srgbClr val="954F72"/>
      </a:folHlink>
    </a:clrScheme>
    <a:fontScheme name="Color Kinetics font theme">
      <a:majorFont>
        <a:latin typeface="Poppins SemiBold"/>
        <a:ea typeface=""/>
        <a:cs typeface=""/>
      </a:majorFont>
      <a:minorFont>
        <a:latin typeface="Open Sans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Aft>
            <a:spcPts val="900"/>
          </a:spcAft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Aft>
            <a:spcPts val="900"/>
          </a:spcAft>
          <a:defRPr sz="18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Blue 100%">
      <a:srgbClr val="00005A"/>
    </a:custClr>
    <a:custClr name="Blue 70%">
      <a:srgbClr val="4C4C8B"/>
    </a:custClr>
    <a:custClr name="Purple 100%">
      <a:srgbClr val="2D004B"/>
    </a:custClr>
    <a:custClr name="Purple 70%">
      <a:srgbClr val="6C4C81"/>
    </a:custClr>
    <a:custClr name="Green 100%">
      <a:srgbClr val="002D2D"/>
    </a:custClr>
    <a:custClr name="Green 70%">
      <a:srgbClr val="4C6C6C"/>
    </a:custClr>
    <a:custClr name="Red 100%">
      <a:srgbClr val="46001E"/>
    </a:custClr>
    <a:custClr name="Red 70%">
      <a:srgbClr val="7D4C61"/>
    </a:custClr>
    <a:custClr name=" ">
      <a:srgbClr val="FFFFFF"/>
    </a:custClr>
    <a:custClr name=" ">
      <a:srgbClr val="FFFFFF"/>
    </a:custClr>
    <a:custClr name="Yellow 100%">
      <a:srgbClr val="FFFF28"/>
    </a:custClr>
    <a:custClr name="Yellow 70%">
      <a:srgbClr val="FFFF68"/>
    </a:custClr>
    <a:custClr name="Orange 100%">
      <a:srgbClr val="FF9600"/>
    </a:custClr>
    <a:custClr name="Orange 70%">
      <a:srgbClr val="FFB54C"/>
    </a:custClr>
    <a:custClr name="Pink 100%">
      <a:srgbClr val="FF557D"/>
    </a:custClr>
    <a:custClr name="Pink 70%">
      <a:srgbClr val="FF88A4"/>
    </a:custClr>
    <a:custClr name="Cyan 100%">
      <a:srgbClr val="64E1F5"/>
    </a:custClr>
    <a:custClr name="Cyan 70%">
      <a:srgbClr val="92EAF8"/>
    </a:custClr>
  </a:custClrLst>
  <a:extLst>
    <a:ext uri="{05A4C25C-085E-4340-85A3-A5531E510DB2}">
      <thm15:themeFamily xmlns:thm15="http://schemas.microsoft.com/office/thememl/2012/main" name="Philips Multi-Brand template 4_3 Brand Fonts.potx" id="{9DE3F654-0F8A-4B45-A3DA-D003FA893D2F}" vid="{FA3C5C5E-2D2B-4C49-9FF9-5BB08E79CE18}"/>
    </a:ext>
  </a:extLst>
</a:theme>
</file>

<file path=ppt/theme/theme4.xml><?xml version="1.0" encoding="utf-8"?>
<a:theme xmlns:a="http://schemas.openxmlformats.org/drawingml/2006/main" name="Philips PPT theme">
  <a:themeElements>
    <a:clrScheme name="Philip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66A1"/>
      </a:accent1>
      <a:accent2>
        <a:srgbClr val="1E9D8B"/>
      </a:accent2>
      <a:accent3>
        <a:srgbClr val="5B8F22"/>
      </a:accent3>
      <a:accent4>
        <a:srgbClr val="E98300"/>
      </a:accent4>
      <a:accent5>
        <a:srgbClr val="EC4371"/>
      </a:accent5>
      <a:accent6>
        <a:srgbClr val="9E2DB1"/>
      </a:accent6>
      <a:hlink>
        <a:srgbClr val="0089C4"/>
      </a:hlink>
      <a:folHlink>
        <a:srgbClr val="631D76"/>
      </a:folHlink>
    </a:clrScheme>
    <a:fontScheme name="Philips_New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 Multi-Brand template 4_3 Brand Fonts.potx" id="{9DE3F654-0F8A-4B45-A3DA-D003FA893D2F}" vid="{5B70716A-E4D1-46FE-A543-8A6F1C1BEA0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ales_Presentation_FloatPlane_2019_2</Template>
  <TotalTime>8</TotalTime>
  <Words>309</Words>
  <Application>Microsoft Office PowerPoint</Application>
  <PresentationFormat>On-screen Show (4:3)</PresentationFormat>
  <Paragraphs>72</Paragraphs>
  <Slides>1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0" baseType="lpstr">
      <vt:lpstr>Arial</vt:lpstr>
      <vt:lpstr>Calibri</vt:lpstr>
      <vt:lpstr>Calibri Light</vt:lpstr>
      <vt:lpstr>Open Sans Light</vt:lpstr>
      <vt:lpstr>Open Sans SemiBold</vt:lpstr>
      <vt:lpstr>Poppins SemiBold</vt:lpstr>
      <vt:lpstr>Signify Raisonne DemiBold</vt:lpstr>
      <vt:lpstr>Signify Relative Bold</vt:lpstr>
      <vt:lpstr>Signify Relative Book</vt:lpstr>
      <vt:lpstr>Signify Relative Faux</vt:lpstr>
      <vt:lpstr>Wingdings</vt:lpstr>
      <vt:lpstr>Signify PowerPoint Theme</vt:lpstr>
      <vt:lpstr>Interact PowerPoint Theme</vt:lpstr>
      <vt:lpstr>Colour Kinetics PowerPoint Theme</vt:lpstr>
      <vt:lpstr>Philips PP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Kuehnel</dc:creator>
  <cp:lastModifiedBy>Matt Kuehnel</cp:lastModifiedBy>
  <cp:revision>1</cp:revision>
  <dcterms:created xsi:type="dcterms:W3CDTF">2019-09-24T22:19:49Z</dcterms:created>
  <dcterms:modified xsi:type="dcterms:W3CDTF">2019-09-24T22:2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b027a58-0b8b-4b38-933d-36c79ab5a9a6_Enabled">
    <vt:lpwstr>True</vt:lpwstr>
  </property>
  <property fmtid="{D5CDD505-2E9C-101B-9397-08002B2CF9AE}" pid="3" name="MSIP_Label_cb027a58-0b8b-4b38-933d-36c79ab5a9a6_SiteId">
    <vt:lpwstr>75b2f54b-feff-400d-8e0b-67102edb9a23</vt:lpwstr>
  </property>
  <property fmtid="{D5CDD505-2E9C-101B-9397-08002B2CF9AE}" pid="4" name="MSIP_Label_cb027a58-0b8b-4b38-933d-36c79ab5a9a6_Owner">
    <vt:lpwstr>matt.kuehnel@signify.com</vt:lpwstr>
  </property>
  <property fmtid="{D5CDD505-2E9C-101B-9397-08002B2CF9AE}" pid="5" name="MSIP_Label_cb027a58-0b8b-4b38-933d-36c79ab5a9a6_SetDate">
    <vt:lpwstr>2019-09-24T22:20:01.3638822Z</vt:lpwstr>
  </property>
  <property fmtid="{D5CDD505-2E9C-101B-9397-08002B2CF9AE}" pid="6" name="MSIP_Label_cb027a58-0b8b-4b38-933d-36c79ab5a9a6_Name">
    <vt:lpwstr>Unclassified</vt:lpwstr>
  </property>
  <property fmtid="{D5CDD505-2E9C-101B-9397-08002B2CF9AE}" pid="7" name="MSIP_Label_cb027a58-0b8b-4b38-933d-36c79ab5a9a6_Application">
    <vt:lpwstr>Microsoft Azure Information Protection</vt:lpwstr>
  </property>
  <property fmtid="{D5CDD505-2E9C-101B-9397-08002B2CF9AE}" pid="8" name="MSIP_Label_cb027a58-0b8b-4b38-933d-36c79ab5a9a6_ActionId">
    <vt:lpwstr>b74a8146-16e2-4565-8166-d4d66afb97a0</vt:lpwstr>
  </property>
  <property fmtid="{D5CDD505-2E9C-101B-9397-08002B2CF9AE}" pid="9" name="MSIP_Label_cb027a58-0b8b-4b38-933d-36c79ab5a9a6_Extended_MSFT_Method">
    <vt:lpwstr>Manual</vt:lpwstr>
  </property>
  <property fmtid="{D5CDD505-2E9C-101B-9397-08002B2CF9AE}" pid="10" name="Sensitivity">
    <vt:lpwstr>Unclassified</vt:lpwstr>
  </property>
</Properties>
</file>